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4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8" r:id="rId2"/>
    <p:sldMasterId id="2147483710" r:id="rId3"/>
  </p:sldMasterIdLst>
  <p:notesMasterIdLst>
    <p:notesMasterId r:id="rId9"/>
  </p:notesMasterIdLst>
  <p:sldIdLst>
    <p:sldId id="267" r:id="rId4"/>
    <p:sldId id="1403" r:id="rId5"/>
    <p:sldId id="1404" r:id="rId6"/>
    <p:sldId id="1405" r:id="rId7"/>
    <p:sldId id="1406" r:id="rId8"/>
  </p:sldIdLst>
  <p:sldSz cx="17068800" cy="9601200"/>
  <p:notesSz cx="6858000" cy="99472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24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8FAADC"/>
    <a:srgbClr val="44546A"/>
    <a:srgbClr val="ADB9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DFA05D-CFCB-0247-9D1B-E6FD9FB33305}" v="817" dt="2020-05-22T11:27:36.550"/>
  </p1510:revLst>
</p1510:revInfo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81"/>
    <p:restoredTop sz="96197"/>
  </p:normalViewPr>
  <p:slideViewPr>
    <p:cSldViewPr snapToGrid="0">
      <p:cViewPr varScale="1">
        <p:scale>
          <a:sx n="59" d="100"/>
          <a:sy n="59" d="100"/>
        </p:scale>
        <p:origin x="-972" y="-96"/>
      </p:cViewPr>
      <p:guideLst>
        <p:guide orient="horz" pos="3024"/>
        <p:guide pos="53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na Zhanibekova" userId="7f5429faef2cd498" providerId="LiveId" clId="{12DFA05D-CFCB-0247-9D1B-E6FD9FB33305}"/>
    <pc:docChg chg="undo redo custSel addSld delSld modSld sldOrd delMainMaster">
      <pc:chgData name="Dina Zhanibekova" userId="7f5429faef2cd498" providerId="LiveId" clId="{12DFA05D-CFCB-0247-9D1B-E6FD9FB33305}" dt="2020-05-22T11:27:36.549" v="6437"/>
      <pc:docMkLst>
        <pc:docMk/>
      </pc:docMkLst>
      <pc:sldChg chg="add del">
        <pc:chgData name="Dina Zhanibekova" userId="7f5429faef2cd498" providerId="LiveId" clId="{12DFA05D-CFCB-0247-9D1B-E6FD9FB33305}" dt="2020-05-21T06:44:45.983" v="936" actId="2696"/>
        <pc:sldMkLst>
          <pc:docMk/>
          <pc:sldMk cId="3211955773" sldId="262"/>
        </pc:sldMkLst>
      </pc:sldChg>
      <pc:sldChg chg="addSp delSp modSp add del ord">
        <pc:chgData name="Dina Zhanibekova" userId="7f5429faef2cd498" providerId="LiveId" clId="{12DFA05D-CFCB-0247-9D1B-E6FD9FB33305}" dt="2020-05-22T07:11:07.106" v="4570" actId="2696"/>
        <pc:sldMkLst>
          <pc:docMk/>
          <pc:sldMk cId="820503036" sldId="270"/>
        </pc:sldMkLst>
        <pc:spChg chg="add del mod">
          <ac:chgData name="Dina Zhanibekova" userId="7f5429faef2cd498" providerId="LiveId" clId="{12DFA05D-CFCB-0247-9D1B-E6FD9FB33305}" dt="2020-05-22T04:35:28.277" v="2185"/>
          <ac:spMkLst>
            <pc:docMk/>
            <pc:sldMk cId="820503036" sldId="270"/>
            <ac:spMk id="3" creationId="{64D4D483-D913-424F-88AD-6D7B954824A2}"/>
          </ac:spMkLst>
        </pc:spChg>
        <pc:spChg chg="add del mod">
          <ac:chgData name="Dina Zhanibekova" userId="7f5429faef2cd498" providerId="LiveId" clId="{12DFA05D-CFCB-0247-9D1B-E6FD9FB33305}" dt="2020-05-21T06:00:58.088" v="240" actId="478"/>
          <ac:spMkLst>
            <pc:docMk/>
            <pc:sldMk cId="820503036" sldId="270"/>
            <ac:spMk id="5" creationId="{D3F5AB62-C7A7-B549-ACA4-DA733216D625}"/>
          </ac:spMkLst>
        </pc:spChg>
        <pc:spChg chg="add mod topLvl">
          <ac:chgData name="Dina Zhanibekova" userId="7f5429faef2cd498" providerId="LiveId" clId="{12DFA05D-CFCB-0247-9D1B-E6FD9FB33305}" dt="2020-05-22T04:34:42.499" v="2180" actId="1076"/>
          <ac:spMkLst>
            <pc:docMk/>
            <pc:sldMk cId="820503036" sldId="270"/>
            <ac:spMk id="22" creationId="{91AD45C8-29DC-CC45-A27D-AC4D94C8F1C1}"/>
          </ac:spMkLst>
        </pc:spChg>
        <pc:spChg chg="add mod topLvl">
          <ac:chgData name="Dina Zhanibekova" userId="7f5429faef2cd498" providerId="LiveId" clId="{12DFA05D-CFCB-0247-9D1B-E6FD9FB33305}" dt="2020-05-22T04:40:25.052" v="2239" actId="20577"/>
          <ac:spMkLst>
            <pc:docMk/>
            <pc:sldMk cId="820503036" sldId="270"/>
            <ac:spMk id="23" creationId="{A9668EAB-4E1F-CD46-87C2-08ACDFA4AA29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25" creationId="{5687B23D-DE6A-C240-8704-54F8A1C67591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26" creationId="{660B8DBD-2095-8146-846D-608DE1A2FB8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27" creationId="{8E502D76-37FD-EB4A-ABAD-B44CF3AF0C7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28" creationId="{55347E3C-C71D-EE41-A15E-40419B15731E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29" creationId="{6E371450-C183-0D43-B314-43056C0DFEA8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30" creationId="{A6486C0E-C2AD-ED47-A659-5D966FEF491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32" creationId="{1A3D1BBB-C761-1D47-B932-148EC54CB04A}"/>
          </ac:spMkLst>
        </pc:spChg>
        <pc:spChg chg="del mod">
          <ac:chgData name="Dina Zhanibekova" userId="7f5429faef2cd498" providerId="LiveId" clId="{12DFA05D-CFCB-0247-9D1B-E6FD9FB33305}" dt="2020-05-21T05:57:35.636" v="158" actId="478"/>
          <ac:spMkLst>
            <pc:docMk/>
            <pc:sldMk cId="820503036" sldId="270"/>
            <ac:spMk id="32" creationId="{347A6DE4-CEA5-6E4B-A6CC-CF95B23B0FD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33" creationId="{0B9B118E-3247-C145-8AA1-291CF52A3683}"/>
          </ac:spMkLst>
        </pc:spChg>
        <pc:spChg chg="mod">
          <ac:chgData name="Dina Zhanibekova" userId="7f5429faef2cd498" providerId="LiveId" clId="{12DFA05D-CFCB-0247-9D1B-E6FD9FB33305}" dt="2020-05-22T04:48:59.243" v="2742" actId="1076"/>
          <ac:spMkLst>
            <pc:docMk/>
            <pc:sldMk cId="820503036" sldId="270"/>
            <ac:spMk id="34" creationId="{EBBF420F-168C-154F-B1F8-690E02C6064D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38" creationId="{956F6141-99F6-6046-B347-88866EFBAFB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39" creationId="{91A8064A-E2CA-B042-B0CE-B369B6CFCED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0" creationId="{4B04822B-5B8A-4949-8E24-C1FE2FAFC669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1" creationId="{AB0895B6-70EC-2642-A033-360FA7DB4E69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3" creationId="{C782332E-EBE8-B747-B8DC-B411BFFF0335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4" creationId="{805155F6-A668-0D48-8881-01DBD71D6DCA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5" creationId="{4F63F8FA-137E-2B41-A17F-0310895C5164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6" creationId="{301A88AD-DD84-AD44-AAA4-57EBF93650CC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7" creationId="{9E2EC0E5-D5BD-8F47-BD0C-EB9E15573892}"/>
          </ac:spMkLst>
        </pc:spChg>
        <pc:spChg chg="mod">
          <ac:chgData name="Dina Zhanibekova" userId="7f5429faef2cd498" providerId="LiveId" clId="{12DFA05D-CFCB-0247-9D1B-E6FD9FB33305}" dt="2020-05-22T04:59:33.683" v="2847" actId="20577"/>
          <ac:spMkLst>
            <pc:docMk/>
            <pc:sldMk cId="820503036" sldId="270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49" creationId="{933A5C4E-1C15-744A-9149-161448466CB5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0" creationId="{4D244267-D06D-B14B-925C-0B9F8117D37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1" creationId="{F446A616-A8F0-AD43-87CC-8F314AA170F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2" creationId="{BE635214-9DDB-6A41-8AAE-FF2FB4C8B83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3" creationId="{A04759E0-4EFE-7A40-AB5F-52B2FB67C76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4" creationId="{C459FA49-27F3-6E45-8F0F-ADFD3965DA75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5" creationId="{85041422-96A4-6148-8880-3A545844957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6" creationId="{C945B9A8-B172-2A4E-84CE-9A8A4E5CDB8E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7" creationId="{A6686EA6-2D36-3548-A753-9DB2E038754F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8" creationId="{F88BDCA0-433B-5849-B307-51FA6567029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59" creationId="{20D18AD6-3CE4-714D-B1D0-DFA639D7812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0" creationId="{F5B2228A-AD25-E646-8970-1BEBF916D42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1" creationId="{C21D6D6A-2178-D749-B686-6F72FDAB1A8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2" creationId="{FF2AF24C-28A8-F343-8CDA-2FDF0FA2FFA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4" creationId="{102E27DE-7288-1647-A6EB-0752CA6D526A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5" creationId="{DE935E3D-F098-404D-A474-8C0B8BCEC34A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6" creationId="{A0D83AB6-F399-4D48-8307-72A5779BFF9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7" creationId="{3FD0FE86-798F-544F-97AB-E9A946D2DD3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8" creationId="{950122FE-755D-A449-AEA5-52717F7C2D59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69" creationId="{4B10C776-6F44-7E40-96DA-5A55AEA8BD3E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0" creationId="{6FDA47F5-F9AC-DC4A-A945-BC80AED5E874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1" creationId="{D03B108F-B4C4-2E49-B26D-DB5188E3010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2" creationId="{E627E552-4A82-1747-BBBE-A3DFE30E5913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3" creationId="{5E0786B4-AF98-FE49-B2A1-BFF89CFC092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4" creationId="{5D780CC5-C332-434F-89AF-F62C623789EC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5" creationId="{2F0261A6-E4B9-204B-BCAC-C94FDB652BA2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6" creationId="{D92B81DB-2C0E-9742-BC47-93D8C310CEA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7" creationId="{DA01D86F-490F-9A42-A3D1-21985BFAC00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8" creationId="{D1D5630B-F632-014A-8882-49FEB2C2CEC5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79" creationId="{54A51B27-37B7-1540-ACBD-57C69233B57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1" creationId="{3602B3F3-EEDA-284C-8035-BE5F0DFBD567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2" creationId="{9EFFE429-3AE9-054A-895B-2608A959FCD2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3" creationId="{3919A2AF-94AA-824B-A157-7764C7619041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4" creationId="{A0D4DBF8-CD87-D84E-B48D-355884645F4B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5" creationId="{0C7A4D01-F78F-E04C-B655-4E603BB2BDB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6" creationId="{0505B4DE-2A1A-BF40-8CD2-8E81606BE06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7" creationId="{B1B21C04-4487-E54F-8D06-44386EB66B9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8" creationId="{DD773206-B742-2543-8E90-B225FD1C4DC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89" creationId="{3AF56D39-79DD-C44B-A811-4352D4840FDE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0" creationId="{4087CCE1-D974-1F4D-BEA7-7E6830697403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1" creationId="{A2BAC825-4D3F-1C47-A638-42584D0CE036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2" creationId="{0E8BC7EF-7B4B-FB4C-9E4A-650C4ED3C1B0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3" creationId="{27C92748-05B8-2A4F-9C08-9D2813C32C63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4" creationId="{697EB12E-421E-3B48-8198-44078B6DB332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5" creationId="{3D942301-66DF-A642-AFE0-230FC51F3882}"/>
          </ac:spMkLst>
        </pc:spChg>
        <pc:spChg chg="mod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6" creationId="{533BDCE8-9978-A843-9DA0-A10D88B3010E}"/>
          </ac:spMkLst>
        </pc:spChg>
        <pc:spChg chg="add mod topLvl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7" creationId="{BC5FE67C-4A1E-7347-AD02-1D79D440D5A0}"/>
          </ac:spMkLst>
        </pc:spChg>
        <pc:spChg chg="add mod topLvl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8" creationId="{B57A29B1-3B48-C148-81B2-E4B41620B2BE}"/>
          </ac:spMkLst>
        </pc:spChg>
        <pc:spChg chg="add mod topLvl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99" creationId="{2D5E54BA-B227-4D40-A7C7-62FAACB11B4C}"/>
          </ac:spMkLst>
        </pc:spChg>
        <pc:spChg chg="add mod topLvl">
          <ac:chgData name="Dina Zhanibekova" userId="7f5429faef2cd498" providerId="LiveId" clId="{12DFA05D-CFCB-0247-9D1B-E6FD9FB33305}" dt="2020-05-22T04:34:40.852" v="2178" actId="165"/>
          <ac:spMkLst>
            <pc:docMk/>
            <pc:sldMk cId="820503036" sldId="270"/>
            <ac:spMk id="100" creationId="{5FADFCDF-E1F6-3947-BECC-DE2E3B6700C6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02" creationId="{E226CDFB-ACBC-8F4F-A3BD-124415926EEE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06" creationId="{D4270BDF-65CE-FC46-A380-BA12C0E29C13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07" creationId="{538FDE68-C203-7847-A31C-8A2DE71A4846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08" creationId="{AD2BEB36-597C-D74A-B783-3025418F88FA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09" creationId="{A31C5461-99DD-E248-88EA-FA645795751F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1" creationId="{CC44C980-381B-0F4A-8431-A6A9E1D4BC4A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2" creationId="{2687E82D-AA36-0249-BCB3-0676BA30EFAB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3" creationId="{9C580EBE-5D70-3C49-93BA-D0004B45BF20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4" creationId="{F6D08E9E-01D3-164E-818C-1EDC60FEE9AC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5" creationId="{F4BBE6E1-E944-CC46-AC6A-158CEC4A1FA2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6" creationId="{E709CEBD-E1A6-B745-ACD4-48CF0885CD0D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7" creationId="{A29F1CC0-DA05-F144-8DBB-72E724927BD5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8" creationId="{66DE1DB8-30D7-6F44-9075-E159B74D5229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19" creationId="{8ED054EE-9284-BD42-B42E-093A8C9DDA7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0" creationId="{9F14AB45-5341-A74C-984F-3DE4002CC3F7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1" creationId="{5DD48980-F6FA-AF4E-97D0-F854499644B0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2" creationId="{091D2988-50AD-F54D-9888-A7D414D54AFE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3" creationId="{CBC0189C-450F-6C4D-A32C-0AF80555876B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4" creationId="{D133D8EF-2275-A240-B6A8-D764D5E88A38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6" creationId="{647FB283-FC90-AF46-939C-14418E5C8949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7" creationId="{531BA554-DC66-8C4B-8B82-2B690A9D611C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8" creationId="{6FAD4241-AC25-D04C-8C45-4218A28D1C5D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29" creationId="{967374D4-E325-4745-A108-789655F39E8F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0" creationId="{9DD6E6E2-1FBE-2E40-BE01-6F9A71B77852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1" creationId="{6ABF47B4-206F-CB4E-90B3-0F2D3D1C263C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2" creationId="{46FF4C18-EDF8-ED46-9F50-D3F658FD6936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3" creationId="{4D80E4EA-D17D-354F-984E-772D2E085D6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4" creationId="{CFD2CEA4-670A-B24E-8EF0-4265EC8B580E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5" creationId="{D2692CD6-E089-A94F-B349-AD9C22D56C8C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6" creationId="{A687F7A8-19CE-464B-A421-B1B897AAC8A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7" creationId="{1C96CF23-F834-C345-A2E4-234929ED14C5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8" creationId="{D6DA478C-FC31-6A43-95C9-3316EEEE0DBD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39" creationId="{1880BAF8-4485-5444-BE27-9ED357860872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1" creationId="{B5B02A68-A4FB-764A-A7B7-71E7072260B5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2" creationId="{3E0143F6-6B08-144E-917D-AF7BE32FC758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3" creationId="{73A670EB-982B-ED4C-A859-DDF131F743B1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4" creationId="{3ACF1D64-D94A-4A44-9F31-22BB0424CF6D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5" creationId="{59D56B73-09B0-5D45-B95E-974786A3F3C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6" creationId="{11F706E7-79C3-3A41-898D-B798DC342396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7" creationId="{DE6B239E-6262-4D49-A116-73B3397BAA9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8" creationId="{DB5C5CF9-E1C4-C24D-82AD-2FB21EDF05F3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49" creationId="{722829E5-B2DB-A34A-AE4E-20A8A6D3AE4C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0" creationId="{738E6078-382D-7C4D-96AD-A6145E9D6D99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1" creationId="{EBB94D9D-D5C2-CC4C-9252-2D7B66C7815F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2" creationId="{D4901915-9ADD-C04F-BA50-3F6C429C2C10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3" creationId="{A36E9974-A6DE-9F4E-923B-AF9416EB2A19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4" creationId="{A6F9E4BD-296C-D942-93B9-45026F3A59A4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5" creationId="{1F533EED-89C5-B143-863B-636FD242E25A}"/>
          </ac:spMkLst>
        </pc:spChg>
        <pc:spChg chg="mod">
          <ac:chgData name="Dina Zhanibekova" userId="7f5429faef2cd498" providerId="LiveId" clId="{12DFA05D-CFCB-0247-9D1B-E6FD9FB33305}" dt="2020-05-22T04:32:04.258" v="2138"/>
          <ac:spMkLst>
            <pc:docMk/>
            <pc:sldMk cId="820503036" sldId="270"/>
            <ac:spMk id="156" creationId="{244FCB8E-9ABF-7845-873E-940B9186D6CA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58" creationId="{50771BE2-E4F9-8C4E-B439-FE20F804BF2D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62" creationId="{8FA82B90-7445-1742-A2F4-4A738712DFD4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63" creationId="{479B0259-5ECC-F642-B3F7-63EE1A6EB833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64" creationId="{EF400E82-9EBD-0C4E-9858-331C52FA3324}"/>
          </ac:spMkLst>
        </pc:spChg>
        <pc:spChg chg="mod">
          <ac:chgData name="Dina Zhanibekova" userId="7f5429faef2cd498" providerId="LiveId" clId="{12DFA05D-CFCB-0247-9D1B-E6FD9FB33305}" dt="2020-05-22T04:46:31.576" v="2705" actId="20577"/>
          <ac:spMkLst>
            <pc:docMk/>
            <pc:sldMk cId="820503036" sldId="270"/>
            <ac:spMk id="165" creationId="{CCD0DB29-42D1-9F4A-AAB6-DBB6DC63696E}"/>
          </ac:spMkLst>
        </pc:spChg>
        <pc:spChg chg="del mod">
          <ac:chgData name="Dina Zhanibekova" userId="7f5429faef2cd498" providerId="LiveId" clId="{12DFA05D-CFCB-0247-9D1B-E6FD9FB33305}" dt="2020-05-22T04:47:57.570" v="2739" actId="478"/>
          <ac:spMkLst>
            <pc:docMk/>
            <pc:sldMk cId="820503036" sldId="270"/>
            <ac:spMk id="167" creationId="{06ED70CA-3825-0C48-A234-0BC9ED323D76}"/>
          </ac:spMkLst>
        </pc:spChg>
        <pc:spChg chg="del mod">
          <ac:chgData name="Dina Zhanibekova" userId="7f5429faef2cd498" providerId="LiveId" clId="{12DFA05D-CFCB-0247-9D1B-E6FD9FB33305}" dt="2020-05-22T04:50:46.241" v="2817" actId="478"/>
          <ac:spMkLst>
            <pc:docMk/>
            <pc:sldMk cId="820503036" sldId="270"/>
            <ac:spMk id="168" creationId="{1875E7A6-7ED2-6B4F-802B-A3DC6D8143A9}"/>
          </ac:spMkLst>
        </pc:spChg>
        <pc:spChg chg="del mod">
          <ac:chgData name="Dina Zhanibekova" userId="7f5429faef2cd498" providerId="LiveId" clId="{12DFA05D-CFCB-0247-9D1B-E6FD9FB33305}" dt="2020-05-22T04:41:39.768" v="2360" actId="478"/>
          <ac:spMkLst>
            <pc:docMk/>
            <pc:sldMk cId="820503036" sldId="270"/>
            <ac:spMk id="169" creationId="{EFDDEF5B-BF8D-3E47-AED7-8F4395495E92}"/>
          </ac:spMkLst>
        </pc:spChg>
        <pc:spChg chg="del mod">
          <ac:chgData name="Dina Zhanibekova" userId="7f5429faef2cd498" providerId="LiveId" clId="{12DFA05D-CFCB-0247-9D1B-E6FD9FB33305}" dt="2020-05-22T04:41:21.492" v="2327" actId="478"/>
          <ac:spMkLst>
            <pc:docMk/>
            <pc:sldMk cId="820503036" sldId="270"/>
            <ac:spMk id="170" creationId="{267CB7C1-E648-774B-AF8E-4B075DB3DB49}"/>
          </ac:spMkLst>
        </pc:spChg>
        <pc:spChg chg="del mod">
          <ac:chgData name="Dina Zhanibekova" userId="7f5429faef2cd498" providerId="LiveId" clId="{12DFA05D-CFCB-0247-9D1B-E6FD9FB33305}" dt="2020-05-22T04:44:22.378" v="2588" actId="478"/>
          <ac:spMkLst>
            <pc:docMk/>
            <pc:sldMk cId="820503036" sldId="270"/>
            <ac:spMk id="171" creationId="{1EF70AF1-9618-1845-958A-CC3A8FC3153A}"/>
          </ac:spMkLst>
        </pc:spChg>
        <pc:spChg chg="del mod">
          <ac:chgData name="Dina Zhanibekova" userId="7f5429faef2cd498" providerId="LiveId" clId="{12DFA05D-CFCB-0247-9D1B-E6FD9FB33305}" dt="2020-05-22T04:43:21.705" v="2547" actId="478"/>
          <ac:spMkLst>
            <pc:docMk/>
            <pc:sldMk cId="820503036" sldId="270"/>
            <ac:spMk id="172" creationId="{02355264-C51D-8E43-B137-583A7E27654B}"/>
          </ac:spMkLst>
        </pc:spChg>
        <pc:spChg chg="del mod">
          <ac:chgData name="Dina Zhanibekova" userId="7f5429faef2cd498" providerId="LiveId" clId="{12DFA05D-CFCB-0247-9D1B-E6FD9FB33305}" dt="2020-05-22T04:42:18.665" v="2499" actId="478"/>
          <ac:spMkLst>
            <pc:docMk/>
            <pc:sldMk cId="820503036" sldId="270"/>
            <ac:spMk id="173" creationId="{3A55E3B5-39FA-E646-A2C9-AAF71CD4C3AF}"/>
          </ac:spMkLst>
        </pc:spChg>
        <pc:spChg chg="del mod">
          <ac:chgData name="Dina Zhanibekova" userId="7f5429faef2cd498" providerId="LiveId" clId="{12DFA05D-CFCB-0247-9D1B-E6FD9FB33305}" dt="2020-05-22T04:49:43.503" v="2754" actId="478"/>
          <ac:spMkLst>
            <pc:docMk/>
            <pc:sldMk cId="820503036" sldId="270"/>
            <ac:spMk id="174" creationId="{3091BA21-0A87-794A-972D-659F00E0F347}"/>
          </ac:spMkLst>
        </pc:spChg>
        <pc:spChg chg="del mod">
          <ac:chgData name="Dina Zhanibekova" userId="7f5429faef2cd498" providerId="LiveId" clId="{12DFA05D-CFCB-0247-9D1B-E6FD9FB33305}" dt="2020-05-22T04:50:50.287" v="2818" actId="478"/>
          <ac:spMkLst>
            <pc:docMk/>
            <pc:sldMk cId="820503036" sldId="270"/>
            <ac:spMk id="175" creationId="{3DC6194D-0485-3043-9341-60CCB045581F}"/>
          </ac:spMkLst>
        </pc:spChg>
        <pc:spChg chg="del mod">
          <ac:chgData name="Dina Zhanibekova" userId="7f5429faef2cd498" providerId="LiveId" clId="{12DFA05D-CFCB-0247-9D1B-E6FD9FB33305}" dt="2020-05-22T04:47:55.161" v="2738" actId="478"/>
          <ac:spMkLst>
            <pc:docMk/>
            <pc:sldMk cId="820503036" sldId="270"/>
            <ac:spMk id="176" creationId="{C7196302-35A1-9245-8135-BF1D8FA2EB13}"/>
          </ac:spMkLst>
        </pc:spChg>
        <pc:spChg chg="del mod">
          <ac:chgData name="Dina Zhanibekova" userId="7f5429faef2cd498" providerId="LiveId" clId="{12DFA05D-CFCB-0247-9D1B-E6FD9FB33305}" dt="2020-05-22T04:49:39.526" v="2752" actId="478"/>
          <ac:spMkLst>
            <pc:docMk/>
            <pc:sldMk cId="820503036" sldId="270"/>
            <ac:spMk id="177" creationId="{CAF183D9-9DEE-B548-8E47-D9822ED1C544}"/>
          </ac:spMkLst>
        </pc:spChg>
        <pc:spChg chg="del mod">
          <ac:chgData name="Dina Zhanibekova" userId="7f5429faef2cd498" providerId="LiveId" clId="{12DFA05D-CFCB-0247-9D1B-E6FD9FB33305}" dt="2020-05-22T04:52:29.236" v="2832" actId="478"/>
          <ac:spMkLst>
            <pc:docMk/>
            <pc:sldMk cId="820503036" sldId="270"/>
            <ac:spMk id="178" creationId="{AF9F992F-7515-D74F-AB4D-712D79889A70}"/>
          </ac:spMkLst>
        </pc:spChg>
        <pc:spChg chg="del mod">
          <ac:chgData name="Dina Zhanibekova" userId="7f5429faef2cd498" providerId="LiveId" clId="{12DFA05D-CFCB-0247-9D1B-E6FD9FB33305}" dt="2020-05-22T04:49:20.967" v="2747" actId="478"/>
          <ac:spMkLst>
            <pc:docMk/>
            <pc:sldMk cId="820503036" sldId="270"/>
            <ac:spMk id="179" creationId="{2B2EAC1A-3CD8-5649-98EB-239F1FEAD667}"/>
          </ac:spMkLst>
        </pc:spChg>
        <pc:spChg chg="del mod">
          <ac:chgData name="Dina Zhanibekova" userId="7f5429faef2cd498" providerId="LiveId" clId="{12DFA05D-CFCB-0247-9D1B-E6FD9FB33305}" dt="2020-05-22T04:50:18.852" v="2795" actId="478"/>
          <ac:spMkLst>
            <pc:docMk/>
            <pc:sldMk cId="820503036" sldId="270"/>
            <ac:spMk id="180" creationId="{C193D708-4677-3B4A-A1D3-7B28C266E754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1" creationId="{6E4AC810-ACE4-B644-8936-2D465AA2E062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2" creationId="{55664789-1108-604B-A4BF-17590A309A60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3" creationId="{B0D0D6A4-EBD6-5441-9D09-2ED18B053107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4" creationId="{7E2E6B3A-E172-BD4C-826A-9F4E8A4D8297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5" creationId="{1E43235D-3FE1-5940-BB23-AD4FC6E3BA35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6" creationId="{4FB649F5-8BED-014A-90C6-19370C5BB6FB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7" creationId="{E4D7590F-2101-4349-8F72-88406C6F66F2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8" creationId="{24FAACCB-5BF4-CE4D-9F3E-035A6B1B5FA1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89" creationId="{EF16631F-CA23-8F43-B0F5-2C88FE961AA9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0" creationId="{F884D587-96A2-E142-B60B-2015EA4ABEB2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1" creationId="{BFE976AF-B4B9-564C-94E5-AF910D6B9894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2" creationId="{34D74050-3BF8-0F49-A798-1F4290AA4D14}"/>
          </ac:spMkLst>
        </pc:spChg>
        <pc:spChg chg="del mod">
          <ac:chgData name="Dina Zhanibekova" userId="7f5429faef2cd498" providerId="LiveId" clId="{12DFA05D-CFCB-0247-9D1B-E6FD9FB33305}" dt="2020-05-22T04:51:30.378" v="2822" actId="478"/>
          <ac:spMkLst>
            <pc:docMk/>
            <pc:sldMk cId="820503036" sldId="270"/>
            <ac:spMk id="193" creationId="{38A09684-8AC7-0F45-99EE-4B6A1B34C53C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4" creationId="{06BC2C66-ED2F-7A49-92E9-E9073AEC8A25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6" creationId="{DB3B8E10-7FC9-9244-B394-DA9330F4F409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7" creationId="{829450A6-BC80-9B4C-9788-8F9FAC0F38F0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8" creationId="{5CD1D8F2-9DF4-9442-90D7-B6B1505DE784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199" creationId="{AA7720E9-3428-4140-936D-40FA54F7497E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00" creationId="{580A7E41-0630-C04F-BBB8-5193A39ADA9F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01" creationId="{A7E77D00-C751-5E48-BDA0-95D9A9D886BE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2" creationId="{3B6BAA3B-F1D3-2841-86B9-7AAB18C53103}"/>
          </ac:spMkLst>
        </pc:spChg>
        <pc:spChg chg="del mod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03" creationId="{E926AF3F-D4F3-1843-B7D3-0416C6751F4F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4" creationId="{ABB85C3D-71BA-9442-B638-DF877BC58DDA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6" creationId="{65E50E86-6465-1D46-B66C-05BD25D4F9B5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7" creationId="{FC5A7CEF-914D-5F4C-AF91-60C4EEEDFE69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8" creationId="{9F07A120-B0DA-AB49-8E32-B44D3A0362C7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09" creationId="{4E20332C-4BA9-EB45-BBCE-C173FDF498DD}"/>
          </ac:spMkLst>
        </pc:spChg>
        <pc:spChg chg="mod">
          <ac:chgData name="Dina Zhanibekova" userId="7f5429faef2cd498" providerId="LiveId" clId="{12DFA05D-CFCB-0247-9D1B-E6FD9FB33305}" dt="2020-05-22T04:44:52.273" v="2591" actId="108"/>
          <ac:spMkLst>
            <pc:docMk/>
            <pc:sldMk cId="820503036" sldId="270"/>
            <ac:spMk id="210" creationId="{EF963ED1-575F-A349-83C2-BD71AA22260A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11" creationId="{165CB4C5-3896-A942-809D-D4ECF856C4FD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12" creationId="{0460D728-4AAE-A843-986E-363E719D4CF1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13" creationId="{4BD4A009-5C1E-7F47-9571-063C41D1A8E5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14" creationId="{EB99ACB8-A421-AE49-BA27-EE8244D46EF9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15" creationId="{661068E9-28A6-D44D-A5F4-9F5084E2E558}"/>
          </ac:spMkLst>
        </pc:spChg>
        <pc:spChg chg="mod">
          <ac:chgData name="Dina Zhanibekova" userId="7f5429faef2cd498" providerId="LiveId" clId="{12DFA05D-CFCB-0247-9D1B-E6FD9FB33305}" dt="2020-05-22T04:35:29.106" v="2186"/>
          <ac:spMkLst>
            <pc:docMk/>
            <pc:sldMk cId="820503036" sldId="270"/>
            <ac:spMk id="216" creationId="{A7161F83-0791-4E4D-9ECB-71FCCB464108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18" creationId="{99211942-9446-A944-A1A7-E8EA471A51C9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20" creationId="{2F026F08-E9AF-F04F-88B5-D7373CB4524F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23" creationId="{F2267CF4-4180-E14A-9CB8-607DA97A4C0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24" creationId="{75F05B7E-C892-B347-8C3C-308F7000535A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25" creationId="{27F2101D-31CF-F042-9EEE-D1CDAB7C2D6C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26" creationId="{46A16D95-0D9B-E844-8C10-138C19377AB9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28" creationId="{9FC9512B-EE70-7847-B1EB-02E146E4607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29" creationId="{F6BBB815-B5F4-2747-99CD-4B900A822B25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30" creationId="{DEAD7577-B3C9-3644-8A8D-90B144F7474D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1" creationId="{F7EB0A3A-14A3-114C-AD33-AF62402D2037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32" creationId="{C8C6FFCF-1322-B646-9F83-8B9227DCAB33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3" creationId="{B46BD536-DD29-BF40-90BC-EED4C53B8621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34" creationId="{2F82833A-04CE-0847-8AA1-D987ACC35BBB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5" creationId="{A99113E7-2F02-BF4D-8182-4D1983841BE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6" creationId="{BF56E336-5329-F34B-96C3-4FA0F51BD8EC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7" creationId="{27A12355-A6D1-0E46-A7DB-7E0D5CC2134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8" creationId="{1CB4DA3A-2E42-6143-8A5A-F84B83F880CD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39" creationId="{382D6A90-53DB-3A41-BBA0-E1C6A1AE2BD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0" creationId="{2D81DF06-E7EC-4342-A30C-BD3786F91F2F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1" creationId="{CB4BA8D7-BD7A-064B-8D92-9448BB33E81A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2" creationId="{2405D5EA-6B81-4941-B4AA-5D7BC725D71A}"/>
          </ac:spMkLst>
        </pc:spChg>
        <pc:spChg chg="mod">
          <ac:chgData name="Dina Zhanibekova" userId="7f5429faef2cd498" providerId="LiveId" clId="{12DFA05D-CFCB-0247-9D1B-E6FD9FB33305}" dt="2020-05-22T04:55:43.716" v="2842" actId="1076"/>
          <ac:spMkLst>
            <pc:docMk/>
            <pc:sldMk cId="820503036" sldId="270"/>
            <ac:spMk id="243" creationId="{1CDE0F58-E497-954B-9977-EE00A8B36AB9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4" creationId="{650AD99D-1ABD-E049-8BB9-C5C727837C4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6" creationId="{DEC4694C-4495-2841-A32D-99FD20D430DC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7" creationId="{E64D3A37-D74B-344B-A26F-31B64F8222B5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8" creationId="{A7E1A806-38A3-C24D-9E87-4F5949A0B098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49" creationId="{D8FEDA89-6147-2544-9403-79ED5B31D774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0" creationId="{23CD7C13-C49F-E24C-8C1D-345A8F7961A7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1" creationId="{88E693D5-4E56-D94E-8E17-57562EDA7FC7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2" creationId="{775F8F68-EDE1-CC48-A9C7-F2301464B983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3" creationId="{D8898266-B0C6-C648-868E-6D8EAA7BC0CF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4" creationId="{891A5345-71DF-DA4D-9A73-1CC3FBD95B6F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5" creationId="{30B25B98-9001-5943-BAEA-0457D1BA6DB3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6" creationId="{4DC3A0D4-15E9-7B4E-AE83-60E05C27E8A2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7" creationId="{4DB05328-74C4-3B49-BC98-9C3AD2E52EA7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8" creationId="{3424E8E7-F5EC-FA4C-BE8A-9FEADAB7882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59" creationId="{36F2EED3-38BD-DA4A-AC91-89BCDC29E866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0" creationId="{1FC006E9-A7C7-5B4C-8769-C942A31A2E03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1" creationId="{D82D1345-A12A-A041-A863-6B481DBBF27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3" creationId="{87AA0C66-5291-A849-AC28-BEC07DD219D4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4" creationId="{0C2D7FF8-A756-7840-910E-449CDE61D1E3}"/>
          </ac:spMkLst>
        </pc:spChg>
        <pc:spChg chg="del">
          <ac:chgData name="Dina Zhanibekova" userId="7f5429faef2cd498" providerId="LiveId" clId="{12DFA05D-CFCB-0247-9D1B-E6FD9FB33305}" dt="2020-05-21T05:53:49.045" v="71" actId="478"/>
          <ac:spMkLst>
            <pc:docMk/>
            <pc:sldMk cId="820503036" sldId="270"/>
            <ac:spMk id="264" creationId="{F836D3F9-CE56-BC49-A927-26BF579D1527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5" creationId="{1D103DB7-3C53-4649-A6B5-86E1D97BF772}"/>
          </ac:spMkLst>
        </pc:spChg>
        <pc:spChg chg="del mod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66" creationId="{7DE4D3F4-1E89-6748-90E5-4C234D978025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8" creationId="{FD03036B-A594-0E42-A5AF-D2D45A59DA81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69" creationId="{0FFDF440-15F8-E54E-869B-135248D9C8D5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0" creationId="{01FB6383-E2AC-1240-BDF8-095686F7DCD9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1" creationId="{C2D69BBA-ABD6-CA46-8C54-D21ED22120BC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2" creationId="{CE02FF8D-25DF-594B-8F1F-EBBD9B8B6445}"/>
          </ac:spMkLst>
        </pc:spChg>
        <pc:spChg chg="del">
          <ac:chgData name="Dina Zhanibekova" userId="7f5429faef2cd498" providerId="LiveId" clId="{12DFA05D-CFCB-0247-9D1B-E6FD9FB33305}" dt="2020-05-22T04:22:41.897" v="2119" actId="478"/>
          <ac:spMkLst>
            <pc:docMk/>
            <pc:sldMk cId="820503036" sldId="270"/>
            <ac:spMk id="273" creationId="{B081D9FF-82D4-1845-9A74-252DA953DEE9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4" creationId="{D1DB6480-A15F-E843-AA7B-299F72E3453B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5" creationId="{A18C53D1-6EEF-D942-A30A-A9B430C3C2C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6" creationId="{59743A67-31E9-5F4A-9C51-E6062D95DC65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7" creationId="{10AC48D9-52A3-5940-B023-DAECA15EE79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8" creationId="{E5A61BA1-C06F-4A49-A1C3-2E5704808AA2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79" creationId="{BE99B1BB-FC28-104B-86EB-0DF3C0D8D180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80" creationId="{61EBA0A2-CADB-374B-8CF1-E5EA2C33A6CE}"/>
          </ac:spMkLst>
        </pc:spChg>
        <pc:spChg chg="mod">
          <ac:chgData name="Dina Zhanibekova" userId="7f5429faef2cd498" providerId="LiveId" clId="{12DFA05D-CFCB-0247-9D1B-E6FD9FB33305}" dt="2020-05-22T04:40:39.890" v="2240"/>
          <ac:spMkLst>
            <pc:docMk/>
            <pc:sldMk cId="820503036" sldId="270"/>
            <ac:spMk id="281" creationId="{639C3D32-6933-EA4A-B087-988CD3AC41E1}"/>
          </ac:spMkLst>
        </pc:spChg>
        <pc:spChg chg="add mod">
          <ac:chgData name="Dina Zhanibekova" userId="7f5429faef2cd498" providerId="LiveId" clId="{12DFA05D-CFCB-0247-9D1B-E6FD9FB33305}" dt="2020-05-22T04:43:58.156" v="2582" actId="122"/>
          <ac:spMkLst>
            <pc:docMk/>
            <pc:sldMk cId="820503036" sldId="270"/>
            <ac:spMk id="282" creationId="{0EC5DD11-9BD7-0C47-838B-67EA59B18528}"/>
          </ac:spMkLst>
        </pc:spChg>
        <pc:spChg chg="add mod">
          <ac:chgData name="Dina Zhanibekova" userId="7f5429faef2cd498" providerId="LiveId" clId="{12DFA05D-CFCB-0247-9D1B-E6FD9FB33305}" dt="2020-05-22T04:44:02.730" v="2583" actId="122"/>
          <ac:spMkLst>
            <pc:docMk/>
            <pc:sldMk cId="820503036" sldId="270"/>
            <ac:spMk id="283" creationId="{F1B914EC-304D-4341-A798-B25DF06956F5}"/>
          </ac:spMkLst>
        </pc:spChg>
        <pc:spChg chg="add mod">
          <ac:chgData name="Dina Zhanibekova" userId="7f5429faef2cd498" providerId="LiveId" clId="{12DFA05D-CFCB-0247-9D1B-E6FD9FB33305}" dt="2020-05-22T04:43:51.377" v="2580" actId="122"/>
          <ac:spMkLst>
            <pc:docMk/>
            <pc:sldMk cId="820503036" sldId="270"/>
            <ac:spMk id="284" creationId="{1CBB3480-18E2-4244-9C16-7A91E256EA85}"/>
          </ac:spMkLst>
        </pc:spChg>
        <pc:spChg chg="add mod">
          <ac:chgData name="Dina Zhanibekova" userId="7f5429faef2cd498" providerId="LiveId" clId="{12DFA05D-CFCB-0247-9D1B-E6FD9FB33305}" dt="2020-05-22T04:43:54.885" v="2581" actId="122"/>
          <ac:spMkLst>
            <pc:docMk/>
            <pc:sldMk cId="820503036" sldId="270"/>
            <ac:spMk id="285" creationId="{07457DB1-8612-7540-9570-4A41DC9896D5}"/>
          </ac:spMkLst>
        </pc:spChg>
        <pc:spChg chg="add mod">
          <ac:chgData name="Dina Zhanibekova" userId="7f5429faef2cd498" providerId="LiveId" clId="{12DFA05D-CFCB-0247-9D1B-E6FD9FB33305}" dt="2020-05-22T04:52:42.004" v="2835" actId="122"/>
          <ac:spMkLst>
            <pc:docMk/>
            <pc:sldMk cId="820503036" sldId="270"/>
            <ac:spMk id="286" creationId="{58889E6F-71E3-B34B-B898-A62F9E7B85FC}"/>
          </ac:spMkLst>
        </pc:spChg>
        <pc:spChg chg="add mod">
          <ac:chgData name="Dina Zhanibekova" userId="7f5429faef2cd498" providerId="LiveId" clId="{12DFA05D-CFCB-0247-9D1B-E6FD9FB33305}" dt="2020-05-22T04:44:32.288" v="2590" actId="122"/>
          <ac:spMkLst>
            <pc:docMk/>
            <pc:sldMk cId="820503036" sldId="270"/>
            <ac:spMk id="287" creationId="{486CDFB6-8FBC-F940-B692-D411821EC517}"/>
          </ac:spMkLst>
        </pc:spChg>
        <pc:spChg chg="add del mod">
          <ac:chgData name="Dina Zhanibekova" userId="7f5429faef2cd498" providerId="LiveId" clId="{12DFA05D-CFCB-0247-9D1B-E6FD9FB33305}" dt="2020-05-22T04:45:44.957" v="2657" actId="478"/>
          <ac:spMkLst>
            <pc:docMk/>
            <pc:sldMk cId="820503036" sldId="270"/>
            <ac:spMk id="288" creationId="{479EC5C2-62D9-BE43-A5AA-8BEE2E932E0A}"/>
          </ac:spMkLst>
        </pc:spChg>
        <pc:spChg chg="add del mod">
          <ac:chgData name="Dina Zhanibekova" userId="7f5429faef2cd498" providerId="LiveId" clId="{12DFA05D-CFCB-0247-9D1B-E6FD9FB33305}" dt="2020-05-22T04:45:43.101" v="2656" actId="478"/>
          <ac:spMkLst>
            <pc:docMk/>
            <pc:sldMk cId="820503036" sldId="270"/>
            <ac:spMk id="289" creationId="{B4B84E40-4A76-2141-B869-DF00FEB64607}"/>
          </ac:spMkLst>
        </pc:spChg>
        <pc:spChg chg="add mod">
          <ac:chgData name="Dina Zhanibekova" userId="7f5429faef2cd498" providerId="LiveId" clId="{12DFA05D-CFCB-0247-9D1B-E6FD9FB33305}" dt="2020-05-22T04:45:51.919" v="2678" actId="1038"/>
          <ac:spMkLst>
            <pc:docMk/>
            <pc:sldMk cId="820503036" sldId="270"/>
            <ac:spMk id="290" creationId="{AC4D428D-C7BF-174C-ADC7-220211A463E5}"/>
          </ac:spMkLst>
        </pc:spChg>
        <pc:spChg chg="add mod">
          <ac:chgData name="Dina Zhanibekova" userId="7f5429faef2cd498" providerId="LiveId" clId="{12DFA05D-CFCB-0247-9D1B-E6FD9FB33305}" dt="2020-05-22T04:45:51.919" v="2678" actId="1038"/>
          <ac:spMkLst>
            <pc:docMk/>
            <pc:sldMk cId="820503036" sldId="270"/>
            <ac:spMk id="291" creationId="{586CD4CD-1BDB-644F-9BA4-FBD7EA6F9A6F}"/>
          </ac:spMkLst>
        </pc:spChg>
        <pc:spChg chg="add mod">
          <ac:chgData name="Dina Zhanibekova" userId="7f5429faef2cd498" providerId="LiveId" clId="{12DFA05D-CFCB-0247-9D1B-E6FD9FB33305}" dt="2020-05-22T04:46:04.943" v="2680" actId="1076"/>
          <ac:spMkLst>
            <pc:docMk/>
            <pc:sldMk cId="820503036" sldId="270"/>
            <ac:spMk id="292" creationId="{E4562985-1271-2E4C-A7C1-0C2A05D75AC4}"/>
          </ac:spMkLst>
        </pc:spChg>
        <pc:spChg chg="add mod">
          <ac:chgData name="Dina Zhanibekova" userId="7f5429faef2cd498" providerId="LiveId" clId="{12DFA05D-CFCB-0247-9D1B-E6FD9FB33305}" dt="2020-05-22T04:48:04.632" v="2740" actId="1076"/>
          <ac:spMkLst>
            <pc:docMk/>
            <pc:sldMk cId="820503036" sldId="270"/>
            <ac:spMk id="293" creationId="{3B1124E8-0AAA-F447-AD74-18573FDEC99E}"/>
          </ac:spMkLst>
        </pc:spChg>
        <pc:spChg chg="add mod">
          <ac:chgData name="Dina Zhanibekova" userId="7f5429faef2cd498" providerId="LiveId" clId="{12DFA05D-CFCB-0247-9D1B-E6FD9FB33305}" dt="2020-05-22T04:49:10.237" v="2744" actId="20577"/>
          <ac:spMkLst>
            <pc:docMk/>
            <pc:sldMk cId="820503036" sldId="270"/>
            <ac:spMk id="294" creationId="{8F485964-0DBE-BC41-91BA-959530FA2398}"/>
          </ac:spMkLst>
        </pc:spChg>
        <pc:spChg chg="add mod">
          <ac:chgData name="Dina Zhanibekova" userId="7f5429faef2cd498" providerId="LiveId" clId="{12DFA05D-CFCB-0247-9D1B-E6FD9FB33305}" dt="2020-05-22T04:49:28.376" v="2749" actId="20577"/>
          <ac:spMkLst>
            <pc:docMk/>
            <pc:sldMk cId="820503036" sldId="270"/>
            <ac:spMk id="295" creationId="{D4508F53-AB5A-AA40-A3E9-CB96093A1577}"/>
          </ac:spMkLst>
        </pc:spChg>
        <pc:spChg chg="add mod">
          <ac:chgData name="Dina Zhanibekova" userId="7f5429faef2cd498" providerId="LiveId" clId="{12DFA05D-CFCB-0247-9D1B-E6FD9FB33305}" dt="2020-05-22T04:52:18.807" v="2831" actId="20577"/>
          <ac:spMkLst>
            <pc:docMk/>
            <pc:sldMk cId="820503036" sldId="270"/>
            <ac:spMk id="296" creationId="{EDF448C6-7305-F648-BD21-D271AF3884E2}"/>
          </ac:spMkLst>
        </pc:spChg>
        <pc:spChg chg="add mod">
          <ac:chgData name="Dina Zhanibekova" userId="7f5429faef2cd498" providerId="LiveId" clId="{12DFA05D-CFCB-0247-9D1B-E6FD9FB33305}" dt="2020-05-22T04:52:14.997" v="2830" actId="20577"/>
          <ac:spMkLst>
            <pc:docMk/>
            <pc:sldMk cId="820503036" sldId="270"/>
            <ac:spMk id="297" creationId="{BA1AA6AC-FA7F-A94B-8288-612B1235D0C3}"/>
          </ac:spMkLst>
        </pc:spChg>
        <pc:spChg chg="add mod">
          <ac:chgData name="Dina Zhanibekova" userId="7f5429faef2cd498" providerId="LiveId" clId="{12DFA05D-CFCB-0247-9D1B-E6FD9FB33305}" dt="2020-05-22T04:50:03.571" v="2792" actId="1076"/>
          <ac:spMkLst>
            <pc:docMk/>
            <pc:sldMk cId="820503036" sldId="270"/>
            <ac:spMk id="298" creationId="{6ECAAA44-D79D-B841-81E8-35AAF52CD37D}"/>
          </ac:spMkLst>
        </pc:spChg>
        <pc:spChg chg="add mod">
          <ac:chgData name="Dina Zhanibekova" userId="7f5429faef2cd498" providerId="LiveId" clId="{12DFA05D-CFCB-0247-9D1B-E6FD9FB33305}" dt="2020-05-22T04:50:26.213" v="2813" actId="1038"/>
          <ac:spMkLst>
            <pc:docMk/>
            <pc:sldMk cId="820503036" sldId="270"/>
            <ac:spMk id="299" creationId="{FD197C5C-220A-2445-A53B-C80F785B1B3B}"/>
          </ac:spMkLst>
        </pc:spChg>
        <pc:spChg chg="add mod">
          <ac:chgData name="Dina Zhanibekova" userId="7f5429faef2cd498" providerId="LiveId" clId="{12DFA05D-CFCB-0247-9D1B-E6FD9FB33305}" dt="2020-05-22T04:50:31.853" v="2814" actId="20577"/>
          <ac:spMkLst>
            <pc:docMk/>
            <pc:sldMk cId="820503036" sldId="270"/>
            <ac:spMk id="300" creationId="{48832B43-02EF-FC45-8D7C-FA9E4E2A31E7}"/>
          </ac:spMkLst>
        </pc:spChg>
        <pc:spChg chg="add mod">
          <ac:chgData name="Dina Zhanibekova" userId="7f5429faef2cd498" providerId="LiveId" clId="{12DFA05D-CFCB-0247-9D1B-E6FD9FB33305}" dt="2020-05-22T04:52:50.260" v="2836" actId="1036"/>
          <ac:spMkLst>
            <pc:docMk/>
            <pc:sldMk cId="820503036" sldId="270"/>
            <ac:spMk id="301" creationId="{A38302CE-51CE-2B44-AD97-4A8F6F886DE6}"/>
          </ac:spMkLst>
        </pc:spChg>
        <pc:spChg chg="add mod">
          <ac:chgData name="Dina Zhanibekova" userId="7f5429faef2cd498" providerId="LiveId" clId="{12DFA05D-CFCB-0247-9D1B-E6FD9FB33305}" dt="2020-05-22T04:51:07.179" v="2820" actId="20577"/>
          <ac:spMkLst>
            <pc:docMk/>
            <pc:sldMk cId="820503036" sldId="270"/>
            <ac:spMk id="302" creationId="{2A2345DF-16E0-9544-B209-55C2616E43CC}"/>
          </ac:spMkLst>
        </pc:spChg>
        <pc:spChg chg="add mod">
          <ac:chgData name="Dina Zhanibekova" userId="7f5429faef2cd498" providerId="LiveId" clId="{12DFA05D-CFCB-0247-9D1B-E6FD9FB33305}" dt="2020-05-22T04:51:38.491" v="2825" actId="1076"/>
          <ac:spMkLst>
            <pc:docMk/>
            <pc:sldMk cId="820503036" sldId="270"/>
            <ac:spMk id="303" creationId="{C3375D74-BC08-834D-9493-714CD758A45F}"/>
          </ac:spMkLst>
        </pc:spChg>
        <pc:spChg chg="add mod">
          <ac:chgData name="Dina Zhanibekova" userId="7f5429faef2cd498" providerId="LiveId" clId="{12DFA05D-CFCB-0247-9D1B-E6FD9FB33305}" dt="2020-05-22T04:51:54.468" v="2827" actId="1076"/>
          <ac:spMkLst>
            <pc:docMk/>
            <pc:sldMk cId="820503036" sldId="270"/>
            <ac:spMk id="304" creationId="{49714D92-D6BC-D846-9B6B-A15B86769E17}"/>
          </ac:spMkLst>
        </pc:spChg>
        <pc:spChg chg="add mod">
          <ac:chgData name="Dina Zhanibekova" userId="7f5429faef2cd498" providerId="LiveId" clId="{12DFA05D-CFCB-0247-9D1B-E6FD9FB33305}" dt="2020-05-22T04:52:05.163" v="2829" actId="1076"/>
          <ac:spMkLst>
            <pc:docMk/>
            <pc:sldMk cId="820503036" sldId="270"/>
            <ac:spMk id="305" creationId="{94FB790D-3081-7B4A-8DDA-81612608AA53}"/>
          </ac:spMkLst>
        </pc:spChg>
        <pc:spChg chg="add mod">
          <ac:chgData name="Dina Zhanibekova" userId="7f5429faef2cd498" providerId="LiveId" clId="{12DFA05D-CFCB-0247-9D1B-E6FD9FB33305}" dt="2020-05-22T04:52:33.376" v="2834" actId="1076"/>
          <ac:spMkLst>
            <pc:docMk/>
            <pc:sldMk cId="820503036" sldId="270"/>
            <ac:spMk id="306" creationId="{A7D34C6C-1EB3-384E-8228-4952675F212C}"/>
          </ac:spMkLst>
        </pc:spChg>
        <pc:grpChg chg="add del mod">
          <ac:chgData name="Dina Zhanibekova" userId="7f5429faef2cd498" providerId="LiveId" clId="{12DFA05D-CFCB-0247-9D1B-E6FD9FB33305}" dt="2020-05-22T04:34:40.852" v="2178" actId="165"/>
          <ac:grpSpMkLst>
            <pc:docMk/>
            <pc:sldMk cId="820503036" sldId="270"/>
            <ac:grpSpMk id="2" creationId="{99B32480-34BC-8745-B810-FADA525709E7}"/>
          </ac:grpSpMkLst>
        </pc:grpChg>
        <pc:grpChg chg="add mod topLvl">
          <ac:chgData name="Dina Zhanibekova" userId="7f5429faef2cd498" providerId="LiveId" clId="{12DFA05D-CFCB-0247-9D1B-E6FD9FB33305}" dt="2020-05-22T04:34:40.852" v="2178" actId="165"/>
          <ac:grpSpMkLst>
            <pc:docMk/>
            <pc:sldMk cId="820503036" sldId="270"/>
            <ac:grpSpMk id="24" creationId="{EFE1C7BE-EDF0-7A4A-9FB1-A2207533EA9F}"/>
          </ac:grpSpMkLst>
        </pc:grpChg>
        <pc:grpChg chg="add del mod topLvl">
          <ac:chgData name="Dina Zhanibekova" userId="7f5429faef2cd498" providerId="LiveId" clId="{12DFA05D-CFCB-0247-9D1B-E6FD9FB33305}" dt="2020-05-22T04:34:52.803" v="2182" actId="478"/>
          <ac:grpSpMkLst>
            <pc:docMk/>
            <pc:sldMk cId="820503036" sldId="270"/>
            <ac:grpSpMk id="35" creationId="{33EFE9B0-5CDC-D548-8E33-4D7DF6F0CFA3}"/>
          </ac:grpSpMkLst>
        </pc:grpChg>
        <pc:grpChg chg="mod">
          <ac:chgData name="Dina Zhanibekova" userId="7f5429faef2cd498" providerId="LiveId" clId="{12DFA05D-CFCB-0247-9D1B-E6FD9FB33305}" dt="2020-05-22T04:34:40.852" v="2178" actId="165"/>
          <ac:grpSpMkLst>
            <pc:docMk/>
            <pc:sldMk cId="820503036" sldId="270"/>
            <ac:grpSpMk id="36" creationId="{B76196CC-6E05-FA42-BF21-19B1F6E99F03}"/>
          </ac:grpSpMkLst>
        </pc:grpChg>
        <pc:grpChg chg="mod">
          <ac:chgData name="Dina Zhanibekova" userId="7f5429faef2cd498" providerId="LiveId" clId="{12DFA05D-CFCB-0247-9D1B-E6FD9FB33305}" dt="2020-05-22T04:34:40.852" v="2178" actId="165"/>
          <ac:grpSpMkLst>
            <pc:docMk/>
            <pc:sldMk cId="820503036" sldId="270"/>
            <ac:grpSpMk id="37" creationId="{6EDFD5FB-2356-9F4D-993C-49CD6D2E22A5}"/>
          </ac:grpSpMkLst>
        </pc:grpChg>
        <pc:grpChg chg="mod">
          <ac:chgData name="Dina Zhanibekova" userId="7f5429faef2cd498" providerId="LiveId" clId="{12DFA05D-CFCB-0247-9D1B-E6FD9FB33305}" dt="2020-05-22T04:34:40.852" v="2178" actId="165"/>
          <ac:grpSpMkLst>
            <pc:docMk/>
            <pc:sldMk cId="820503036" sldId="270"/>
            <ac:grpSpMk id="80" creationId="{43CC56A2-9562-2847-9CD5-358B5257E688}"/>
          </ac:grpSpMkLst>
        </pc:grpChg>
        <pc:grpChg chg="add del mod">
          <ac:chgData name="Dina Zhanibekova" userId="7f5429faef2cd498" providerId="LiveId" clId="{12DFA05D-CFCB-0247-9D1B-E6FD9FB33305}" dt="2020-05-22T04:34:03.904" v="2155"/>
          <ac:grpSpMkLst>
            <pc:docMk/>
            <pc:sldMk cId="820503036" sldId="270"/>
            <ac:grpSpMk id="101" creationId="{0F2691FF-A1F4-ED48-83AD-AF69B5A39D6E}"/>
          </ac:grpSpMkLst>
        </pc:grpChg>
        <pc:grpChg chg="mod">
          <ac:chgData name="Dina Zhanibekova" userId="7f5429faef2cd498" providerId="LiveId" clId="{12DFA05D-CFCB-0247-9D1B-E6FD9FB33305}" dt="2020-05-22T04:32:04.258" v="2138"/>
          <ac:grpSpMkLst>
            <pc:docMk/>
            <pc:sldMk cId="820503036" sldId="270"/>
            <ac:grpSpMk id="103" creationId="{85865410-5542-E943-9865-6055B58CE2D4}"/>
          </ac:grpSpMkLst>
        </pc:grpChg>
        <pc:grpChg chg="mod">
          <ac:chgData name="Dina Zhanibekova" userId="7f5429faef2cd498" providerId="LiveId" clId="{12DFA05D-CFCB-0247-9D1B-E6FD9FB33305}" dt="2020-05-22T04:32:04.258" v="2138"/>
          <ac:grpSpMkLst>
            <pc:docMk/>
            <pc:sldMk cId="820503036" sldId="270"/>
            <ac:grpSpMk id="104" creationId="{7BF381B0-5ED8-8346-90BA-226A7AFDFD1A}"/>
          </ac:grpSpMkLst>
        </pc:grpChg>
        <pc:grpChg chg="mod">
          <ac:chgData name="Dina Zhanibekova" userId="7f5429faef2cd498" providerId="LiveId" clId="{12DFA05D-CFCB-0247-9D1B-E6FD9FB33305}" dt="2020-05-22T04:32:04.258" v="2138"/>
          <ac:grpSpMkLst>
            <pc:docMk/>
            <pc:sldMk cId="820503036" sldId="270"/>
            <ac:grpSpMk id="105" creationId="{764BEA64-7DBC-2C4F-A17D-AFD03261B26F}"/>
          </ac:grpSpMkLst>
        </pc:grpChg>
        <pc:grpChg chg="mod">
          <ac:chgData name="Dina Zhanibekova" userId="7f5429faef2cd498" providerId="LiveId" clId="{12DFA05D-CFCB-0247-9D1B-E6FD9FB33305}" dt="2020-05-22T04:32:04.258" v="2138"/>
          <ac:grpSpMkLst>
            <pc:docMk/>
            <pc:sldMk cId="820503036" sldId="270"/>
            <ac:grpSpMk id="140" creationId="{5A35FE26-6472-1846-A29B-B60A293C5136}"/>
          </ac:grpSpMkLst>
        </pc:grpChg>
        <pc:grpChg chg="add mod">
          <ac:chgData name="Dina Zhanibekova" userId="7f5429faef2cd498" providerId="LiveId" clId="{12DFA05D-CFCB-0247-9D1B-E6FD9FB33305}" dt="2020-05-22T04:36:55.026" v="2190" actId="1076"/>
          <ac:grpSpMkLst>
            <pc:docMk/>
            <pc:sldMk cId="820503036" sldId="270"/>
            <ac:grpSpMk id="157" creationId="{11D5EC97-99DC-6749-B5C4-03A56CE356F8}"/>
          </ac:grpSpMkLst>
        </pc:grpChg>
        <pc:grpChg chg="mod">
          <ac:chgData name="Dina Zhanibekova" userId="7f5429faef2cd498" providerId="LiveId" clId="{12DFA05D-CFCB-0247-9D1B-E6FD9FB33305}" dt="2020-05-22T04:35:29.106" v="2186"/>
          <ac:grpSpMkLst>
            <pc:docMk/>
            <pc:sldMk cId="820503036" sldId="270"/>
            <ac:grpSpMk id="159" creationId="{4040A20A-A04D-3246-A369-EFEB8DF7DAA3}"/>
          </ac:grpSpMkLst>
        </pc:grpChg>
        <pc:grpChg chg="mod">
          <ac:chgData name="Dina Zhanibekova" userId="7f5429faef2cd498" providerId="LiveId" clId="{12DFA05D-CFCB-0247-9D1B-E6FD9FB33305}" dt="2020-05-22T04:35:29.106" v="2186"/>
          <ac:grpSpMkLst>
            <pc:docMk/>
            <pc:sldMk cId="820503036" sldId="270"/>
            <ac:grpSpMk id="160" creationId="{83BDCE65-C2E2-D043-9517-4E6FBC71CED7}"/>
          </ac:grpSpMkLst>
        </pc:grpChg>
        <pc:grpChg chg="mod">
          <ac:chgData name="Dina Zhanibekova" userId="7f5429faef2cd498" providerId="LiveId" clId="{12DFA05D-CFCB-0247-9D1B-E6FD9FB33305}" dt="2020-05-22T04:35:29.106" v="2186"/>
          <ac:grpSpMkLst>
            <pc:docMk/>
            <pc:sldMk cId="820503036" sldId="270"/>
            <ac:grpSpMk id="161" creationId="{4A780727-903C-ED4C-B794-5BE3A8C024CE}"/>
          </ac:grpSpMkLst>
        </pc:grpChg>
        <pc:grpChg chg="mod">
          <ac:chgData name="Dina Zhanibekova" userId="7f5429faef2cd498" providerId="LiveId" clId="{12DFA05D-CFCB-0247-9D1B-E6FD9FB33305}" dt="2020-05-22T04:35:29.106" v="2186"/>
          <ac:grpSpMkLst>
            <pc:docMk/>
            <pc:sldMk cId="820503036" sldId="270"/>
            <ac:grpSpMk id="195" creationId="{B1A6EE11-E896-534C-A6A0-E8CA4CAC72E5}"/>
          </ac:grpSpMkLst>
        </pc:grpChg>
        <pc:grpChg chg="add del mod">
          <ac:chgData name="Dina Zhanibekova" userId="7f5429faef2cd498" providerId="LiveId" clId="{12DFA05D-CFCB-0247-9D1B-E6FD9FB33305}" dt="2020-05-22T04:40:41.666" v="2241"/>
          <ac:grpSpMkLst>
            <pc:docMk/>
            <pc:sldMk cId="820503036" sldId="270"/>
            <ac:grpSpMk id="217" creationId="{C020E2BC-C85E-E643-9FBF-180B043612A9}"/>
          </ac:grpSpMkLst>
        </pc:grpChg>
        <pc:grpChg chg="mod">
          <ac:chgData name="Dina Zhanibekova" userId="7f5429faef2cd498" providerId="LiveId" clId="{12DFA05D-CFCB-0247-9D1B-E6FD9FB33305}" dt="2020-05-22T04:40:39.890" v="2240"/>
          <ac:grpSpMkLst>
            <pc:docMk/>
            <pc:sldMk cId="820503036" sldId="270"/>
            <ac:grpSpMk id="219" creationId="{F9C2745F-1642-D645-8766-26429F58B4E6}"/>
          </ac:grpSpMkLst>
        </pc:grpChg>
        <pc:grpChg chg="mod">
          <ac:chgData name="Dina Zhanibekova" userId="7f5429faef2cd498" providerId="LiveId" clId="{12DFA05D-CFCB-0247-9D1B-E6FD9FB33305}" dt="2020-05-22T04:40:39.890" v="2240"/>
          <ac:grpSpMkLst>
            <pc:docMk/>
            <pc:sldMk cId="820503036" sldId="270"/>
            <ac:grpSpMk id="221" creationId="{147DCA4A-BD80-174D-97A5-2D2D0A0C96FD}"/>
          </ac:grpSpMkLst>
        </pc:grpChg>
        <pc:grpChg chg="mod">
          <ac:chgData name="Dina Zhanibekova" userId="7f5429faef2cd498" providerId="LiveId" clId="{12DFA05D-CFCB-0247-9D1B-E6FD9FB33305}" dt="2020-05-22T04:40:39.890" v="2240"/>
          <ac:grpSpMkLst>
            <pc:docMk/>
            <pc:sldMk cId="820503036" sldId="270"/>
            <ac:grpSpMk id="222" creationId="{E69EF282-0850-3A47-B3A0-CC06F6C2A1F7}"/>
          </ac:grpSpMkLst>
        </pc:grpChg>
        <pc:grpChg chg="mod">
          <ac:chgData name="Dina Zhanibekova" userId="7f5429faef2cd498" providerId="LiveId" clId="{12DFA05D-CFCB-0247-9D1B-E6FD9FB33305}" dt="2020-05-22T04:40:39.890" v="2240"/>
          <ac:grpSpMkLst>
            <pc:docMk/>
            <pc:sldMk cId="820503036" sldId="270"/>
            <ac:grpSpMk id="262" creationId="{32625956-DEE0-DB4E-AB55-D43DB54FCC35}"/>
          </ac:grpSpMkLst>
        </pc:grpChg>
        <pc:graphicFrameChg chg="del mod">
          <ac:chgData name="Dina Zhanibekova" userId="7f5429faef2cd498" providerId="LiveId" clId="{12DFA05D-CFCB-0247-9D1B-E6FD9FB33305}" dt="2020-05-22T04:22:41.897" v="2119" actId="478"/>
          <ac:graphicFrameMkLst>
            <pc:docMk/>
            <pc:sldMk cId="820503036" sldId="270"/>
            <ac:graphicFrameMk id="31" creationId="{E666D726-77F5-1B4E-A386-726DB6820122}"/>
          </ac:graphicFrameMkLst>
        </pc:graphicFrameChg>
        <pc:graphicFrameChg chg="del mod">
          <ac:chgData name="Dina Zhanibekova" userId="7f5429faef2cd498" providerId="LiveId" clId="{12DFA05D-CFCB-0247-9D1B-E6FD9FB33305}" dt="2020-05-22T04:22:41.897" v="2119" actId="478"/>
          <ac:graphicFrameMkLst>
            <pc:docMk/>
            <pc:sldMk cId="820503036" sldId="270"/>
            <ac:graphicFrameMk id="267" creationId="{F164F3FB-9719-1B4C-9E19-C38210877D1E}"/>
          </ac:graphicFrameMkLst>
        </pc:graphicFrameChg>
        <pc:cxnChg chg="mod">
          <ac:chgData name="Dina Zhanibekova" userId="7f5429faef2cd498" providerId="LiveId" clId="{12DFA05D-CFCB-0247-9D1B-E6FD9FB33305}" dt="2020-05-22T04:34:52.803" v="2182" actId="478"/>
          <ac:cxnSpMkLst>
            <pc:docMk/>
            <pc:sldMk cId="820503036" sldId="270"/>
            <ac:cxnSpMk id="42" creationId="{5EDC6A88-A250-BA4D-BC09-6F9F73AA7310}"/>
          </ac:cxnSpMkLst>
        </pc:cxnChg>
        <pc:cxnChg chg="mod">
          <ac:chgData name="Dina Zhanibekova" userId="7f5429faef2cd498" providerId="LiveId" clId="{12DFA05D-CFCB-0247-9D1B-E6FD9FB33305}" dt="2020-05-22T04:32:04.258" v="2138"/>
          <ac:cxnSpMkLst>
            <pc:docMk/>
            <pc:sldMk cId="820503036" sldId="270"/>
            <ac:cxnSpMk id="110" creationId="{03E81E20-293D-254B-81B7-CFA7737380CC}"/>
          </ac:cxnSpMkLst>
        </pc:cxnChg>
        <pc:cxnChg chg="mod">
          <ac:chgData name="Dina Zhanibekova" userId="7f5429faef2cd498" providerId="LiveId" clId="{12DFA05D-CFCB-0247-9D1B-E6FD9FB33305}" dt="2020-05-22T04:35:29.106" v="2186"/>
          <ac:cxnSpMkLst>
            <pc:docMk/>
            <pc:sldMk cId="820503036" sldId="270"/>
            <ac:cxnSpMk id="166" creationId="{B44B7EC2-B106-644C-97E0-B181B2D97625}"/>
          </ac:cxnSpMkLst>
        </pc:cxnChg>
        <pc:cxnChg chg="del mod">
          <ac:chgData name="Dina Zhanibekova" userId="7f5429faef2cd498" providerId="LiveId" clId="{12DFA05D-CFCB-0247-9D1B-E6FD9FB33305}" dt="2020-05-22T04:22:41.897" v="2119" actId="478"/>
          <ac:cxnSpMkLst>
            <pc:docMk/>
            <pc:sldMk cId="820503036" sldId="270"/>
            <ac:cxnSpMk id="205" creationId="{A63B6388-61D0-9247-93A6-6D5E05B3706A}"/>
          </ac:cxnSpMkLst>
        </pc:cxnChg>
        <pc:cxnChg chg="mod">
          <ac:chgData name="Dina Zhanibekova" userId="7f5429faef2cd498" providerId="LiveId" clId="{12DFA05D-CFCB-0247-9D1B-E6FD9FB33305}" dt="2020-05-22T04:40:39.890" v="2240"/>
          <ac:cxnSpMkLst>
            <pc:docMk/>
            <pc:sldMk cId="820503036" sldId="270"/>
            <ac:cxnSpMk id="227" creationId="{726074E8-B871-604D-9671-A9CC8C85D8CC}"/>
          </ac:cxnSpMkLst>
        </pc:cxnChg>
      </pc:sldChg>
      <pc:sldChg chg="addSp delSp modSp">
        <pc:chgData name="Dina Zhanibekova" userId="7f5429faef2cd498" providerId="LiveId" clId="{12DFA05D-CFCB-0247-9D1B-E6FD9FB33305}" dt="2020-05-22T10:44:29.183" v="6156" actId="108"/>
        <pc:sldMkLst>
          <pc:docMk/>
          <pc:sldMk cId="3817248015" sldId="271"/>
        </pc:sldMkLst>
        <pc:spChg chg="mod">
          <ac:chgData name="Dina Zhanibekova" userId="7f5429faef2cd498" providerId="LiveId" clId="{12DFA05D-CFCB-0247-9D1B-E6FD9FB33305}" dt="2020-05-22T10:44:29.183" v="6156" actId="108"/>
          <ac:spMkLst>
            <pc:docMk/>
            <pc:sldMk cId="3817248015" sldId="271"/>
            <ac:spMk id="6" creationId="{90C2E6A8-83FE-6F4C-93A0-4FBD29F371E5}"/>
          </ac:spMkLst>
        </pc:spChg>
        <pc:spChg chg="mod">
          <ac:chgData name="Dina Zhanibekova" userId="7f5429faef2cd498" providerId="LiveId" clId="{12DFA05D-CFCB-0247-9D1B-E6FD9FB33305}" dt="2020-05-21T06:11:57.008" v="384" actId="108"/>
          <ac:spMkLst>
            <pc:docMk/>
            <pc:sldMk cId="3817248015" sldId="271"/>
            <ac:spMk id="28" creationId="{3CA6F419-65C1-BF41-9E8F-6E3B92E344E4}"/>
          </ac:spMkLst>
        </pc:spChg>
        <pc:spChg chg="mod">
          <ac:chgData name="Dina Zhanibekova" userId="7f5429faef2cd498" providerId="LiveId" clId="{12DFA05D-CFCB-0247-9D1B-E6FD9FB33305}" dt="2020-05-21T06:29:18.889" v="643" actId="404"/>
          <ac:spMkLst>
            <pc:docMk/>
            <pc:sldMk cId="3817248015" sldId="271"/>
            <ac:spMk id="48" creationId="{2A924633-D274-EE4E-A3CD-F51B7E83ADAB}"/>
          </ac:spMkLst>
        </pc:spChg>
        <pc:spChg chg="add del mod">
          <ac:chgData name="Dina Zhanibekova" userId="7f5429faef2cd498" providerId="LiveId" clId="{12DFA05D-CFCB-0247-9D1B-E6FD9FB33305}" dt="2020-05-21T06:11:34.812" v="379" actId="108"/>
          <ac:spMkLst>
            <pc:docMk/>
            <pc:sldMk cId="3817248015" sldId="271"/>
            <ac:spMk id="141" creationId="{456C39D3-9BF1-CA45-80FC-A5E62BDD3073}"/>
          </ac:spMkLst>
        </pc:spChg>
        <pc:spChg chg="del mod">
          <ac:chgData name="Dina Zhanibekova" userId="7f5429faef2cd498" providerId="LiveId" clId="{12DFA05D-CFCB-0247-9D1B-E6FD9FB33305}" dt="2020-05-21T06:11:37.130" v="380" actId="478"/>
          <ac:spMkLst>
            <pc:docMk/>
            <pc:sldMk cId="3817248015" sldId="271"/>
            <ac:spMk id="210" creationId="{C37419DE-1A48-AF48-AC73-F944B4980251}"/>
          </ac:spMkLst>
        </pc:spChg>
        <pc:grpChg chg="mod">
          <ac:chgData name="Dina Zhanibekova" userId="7f5429faef2cd498" providerId="LiveId" clId="{12DFA05D-CFCB-0247-9D1B-E6FD9FB33305}" dt="2020-05-21T06:11:40.838" v="381" actId="1076"/>
          <ac:grpSpMkLst>
            <pc:docMk/>
            <pc:sldMk cId="3817248015" sldId="271"/>
            <ac:grpSpMk id="237" creationId="{8C1F2F2E-F5BC-E14C-9865-6D5CA98283FB}"/>
          </ac:grpSpMkLst>
        </pc:grpChg>
        <pc:graphicFrameChg chg="mod">
          <ac:chgData name="Dina Zhanibekova" userId="7f5429faef2cd498" providerId="LiveId" clId="{12DFA05D-CFCB-0247-9D1B-E6FD9FB33305}" dt="2020-05-21T06:11:47.896" v="382"/>
          <ac:graphicFrameMkLst>
            <pc:docMk/>
            <pc:sldMk cId="3817248015" sldId="271"/>
            <ac:graphicFrameMk id="27" creationId="{50862D92-25B6-0F4D-B03D-412F59F3FD08}"/>
          </ac:graphicFrameMkLst>
        </pc:graphicFrameChg>
      </pc:sldChg>
      <pc:sldChg chg="addSp delSp modSp ord">
        <pc:chgData name="Dina Zhanibekova" userId="7f5429faef2cd498" providerId="LiveId" clId="{12DFA05D-CFCB-0247-9D1B-E6FD9FB33305}" dt="2020-05-22T10:22:03.149" v="5955" actId="255"/>
        <pc:sldMkLst>
          <pc:docMk/>
          <pc:sldMk cId="2478026461" sldId="272"/>
        </pc:sldMkLst>
        <pc:spChg chg="add del mod">
          <ac:chgData name="Dina Zhanibekova" userId="7f5429faef2cd498" providerId="LiveId" clId="{12DFA05D-CFCB-0247-9D1B-E6FD9FB33305}" dt="2020-05-21T06:48:13.846" v="994" actId="478"/>
          <ac:spMkLst>
            <pc:docMk/>
            <pc:sldMk cId="2478026461" sldId="272"/>
            <ac:spMk id="20" creationId="{51BD8A48-9FC3-F443-81CB-CD62C7698A34}"/>
          </ac:spMkLst>
        </pc:spChg>
        <pc:spChg chg="mod">
          <ac:chgData name="Dina Zhanibekova" userId="7f5429faef2cd498" providerId="LiveId" clId="{12DFA05D-CFCB-0247-9D1B-E6FD9FB33305}" dt="2020-05-22T10:22:03.149" v="5955" actId="255"/>
          <ac:spMkLst>
            <pc:docMk/>
            <pc:sldMk cId="2478026461" sldId="272"/>
            <ac:spMk id="42" creationId="{00FCF874-9649-2642-AF84-D7BE365107B9}"/>
          </ac:spMkLst>
        </pc:spChg>
        <pc:spChg chg="mod">
          <ac:chgData name="Dina Zhanibekova" userId="7f5429faef2cd498" providerId="LiveId" clId="{12DFA05D-CFCB-0247-9D1B-E6FD9FB33305}" dt="2020-05-21T07:50:55.835" v="2068" actId="20577"/>
          <ac:spMkLst>
            <pc:docMk/>
            <pc:sldMk cId="2478026461" sldId="272"/>
            <ac:spMk id="43" creationId="{E9627646-A845-8045-965C-7C7D06F59554}"/>
          </ac:spMkLst>
        </pc:spChg>
        <pc:spChg chg="mod">
          <ac:chgData name="Dina Zhanibekova" userId="7f5429faef2cd498" providerId="LiveId" clId="{12DFA05D-CFCB-0247-9D1B-E6FD9FB33305}" dt="2020-05-21T06:40:30.594" v="878" actId="20577"/>
          <ac:spMkLst>
            <pc:docMk/>
            <pc:sldMk cId="2478026461" sldId="272"/>
            <ac:spMk id="44" creationId="{D3828FB2-09F7-8C4E-8629-3AE9ADE20B73}"/>
          </ac:spMkLst>
        </pc:spChg>
        <pc:spChg chg="mod">
          <ac:chgData name="Dina Zhanibekova" userId="7f5429faef2cd498" providerId="LiveId" clId="{12DFA05D-CFCB-0247-9D1B-E6FD9FB33305}" dt="2020-05-21T06:43:50.102" v="935" actId="313"/>
          <ac:spMkLst>
            <pc:docMk/>
            <pc:sldMk cId="2478026461" sldId="272"/>
            <ac:spMk id="45" creationId="{5BE7FA0A-242B-3041-A383-236E3573687F}"/>
          </ac:spMkLst>
        </pc:spChg>
        <pc:spChg chg="mod">
          <ac:chgData name="Dina Zhanibekova" userId="7f5429faef2cd498" providerId="LiveId" clId="{12DFA05D-CFCB-0247-9D1B-E6FD9FB33305}" dt="2020-05-21T11:12:02.941" v="2111" actId="20577"/>
          <ac:spMkLst>
            <pc:docMk/>
            <pc:sldMk cId="2478026461" sldId="272"/>
            <ac:spMk id="48" creationId="{2A924633-D274-EE4E-A3CD-F51B7E83ADAB}"/>
          </ac:spMkLst>
        </pc:spChg>
        <pc:spChg chg="del mod">
          <ac:chgData name="Dina Zhanibekova" userId="7f5429faef2cd498" providerId="LiveId" clId="{12DFA05D-CFCB-0247-9D1B-E6FD9FB33305}" dt="2020-05-21T07:46:02.567" v="2021" actId="478"/>
          <ac:spMkLst>
            <pc:docMk/>
            <pc:sldMk cId="2478026461" sldId="272"/>
            <ac:spMk id="55" creationId="{98BAD621-D9CD-994B-8C03-CB7EC4EC9FA2}"/>
          </ac:spMkLst>
        </pc:spChg>
        <pc:spChg chg="mod">
          <ac:chgData name="Dina Zhanibekova" userId="7f5429faef2cd498" providerId="LiveId" clId="{12DFA05D-CFCB-0247-9D1B-E6FD9FB33305}" dt="2020-05-22T05:00:49.154" v="2899"/>
          <ac:spMkLst>
            <pc:docMk/>
            <pc:sldMk cId="2478026461" sldId="272"/>
            <ac:spMk id="125" creationId="{7530387D-2B9A-4D17-9FCE-3D220BBC3852}"/>
          </ac:spMkLst>
        </pc:spChg>
        <pc:grpChg chg="mod">
          <ac:chgData name="Dina Zhanibekova" userId="7f5429faef2cd498" providerId="LiveId" clId="{12DFA05D-CFCB-0247-9D1B-E6FD9FB33305}" dt="2020-05-21T06:36:25.591" v="742" actId="1076"/>
          <ac:grpSpMkLst>
            <pc:docMk/>
            <pc:sldMk cId="2478026461" sldId="272"/>
            <ac:grpSpMk id="46" creationId="{057ECEED-146A-7F47-BEBC-8BA118BADC47}"/>
          </ac:grpSpMkLst>
        </pc:grpChg>
        <pc:grpChg chg="mod">
          <ac:chgData name="Dina Zhanibekova" userId="7f5429faef2cd498" providerId="LiveId" clId="{12DFA05D-CFCB-0247-9D1B-E6FD9FB33305}" dt="2020-05-21T06:36:20.559" v="741" actId="1076"/>
          <ac:grpSpMkLst>
            <pc:docMk/>
            <pc:sldMk cId="2478026461" sldId="272"/>
            <ac:grpSpMk id="51" creationId="{75C43572-365E-E64F-B856-E8202E860B61}"/>
          </ac:grpSpMkLst>
        </pc:grpChg>
        <pc:cxnChg chg="mod">
          <ac:chgData name="Dina Zhanibekova" userId="7f5429faef2cd498" providerId="LiveId" clId="{12DFA05D-CFCB-0247-9D1B-E6FD9FB33305}" dt="2020-05-21T06:39:29.222" v="829" actId="1076"/>
          <ac:cxnSpMkLst>
            <pc:docMk/>
            <pc:sldMk cId="2478026461" sldId="272"/>
            <ac:cxnSpMk id="63" creationId="{83074352-FA7C-4C5A-B967-3A7CA0B53890}"/>
          </ac:cxnSpMkLst>
        </pc:cxnChg>
      </pc:sldChg>
      <pc:sldChg chg="del">
        <pc:chgData name="Dina Zhanibekova" userId="7f5429faef2cd498" providerId="LiveId" clId="{12DFA05D-CFCB-0247-9D1B-E6FD9FB33305}" dt="2020-05-21T06:55:49.282" v="1106" actId="2696"/>
        <pc:sldMkLst>
          <pc:docMk/>
          <pc:sldMk cId="4289099804" sldId="273"/>
        </pc:sldMkLst>
      </pc:sldChg>
      <pc:sldChg chg="del">
        <pc:chgData name="Dina Zhanibekova" userId="7f5429faef2cd498" providerId="LiveId" clId="{12DFA05D-CFCB-0247-9D1B-E6FD9FB33305}" dt="2020-05-21T07:18:03.437" v="1454" actId="2696"/>
        <pc:sldMkLst>
          <pc:docMk/>
          <pc:sldMk cId="719200154" sldId="274"/>
        </pc:sldMkLst>
      </pc:sldChg>
      <pc:sldChg chg="del">
        <pc:chgData name="Dina Zhanibekova" userId="7f5429faef2cd498" providerId="LiveId" clId="{12DFA05D-CFCB-0247-9D1B-E6FD9FB33305}" dt="2020-05-21T07:18:06.896" v="1455" actId="2696"/>
        <pc:sldMkLst>
          <pc:docMk/>
          <pc:sldMk cId="1993222943" sldId="275"/>
        </pc:sldMkLst>
      </pc:sldChg>
      <pc:sldChg chg="add del">
        <pc:chgData name="Dina Zhanibekova" userId="7f5429faef2cd498" providerId="LiveId" clId="{12DFA05D-CFCB-0247-9D1B-E6FD9FB33305}" dt="2020-05-21T06:55:26.692" v="1103" actId="2696"/>
        <pc:sldMkLst>
          <pc:docMk/>
          <pc:sldMk cId="3085919808" sldId="385"/>
        </pc:sldMkLst>
      </pc:sldChg>
      <pc:sldChg chg="delSp add del">
        <pc:chgData name="Dina Zhanibekova" userId="7f5429faef2cd498" providerId="LiveId" clId="{12DFA05D-CFCB-0247-9D1B-E6FD9FB33305}" dt="2020-05-22T04:22:58.315" v="2121" actId="2696"/>
        <pc:sldMkLst>
          <pc:docMk/>
          <pc:sldMk cId="3705401211" sldId="510"/>
        </pc:sldMkLst>
        <pc:spChg chg="del">
          <ac:chgData name="Dina Zhanibekova" userId="7f5429faef2cd498" providerId="LiveId" clId="{12DFA05D-CFCB-0247-9D1B-E6FD9FB33305}" dt="2020-05-22T04:22:19.525" v="2116" actId="478"/>
          <ac:spMkLst>
            <pc:docMk/>
            <pc:sldMk cId="3705401211" sldId="510"/>
            <ac:spMk id="297" creationId="{00000000-0000-0000-0000-000000000000}"/>
          </ac:spMkLst>
        </pc:spChg>
        <pc:grpChg chg="del">
          <ac:chgData name="Dina Zhanibekova" userId="7f5429faef2cd498" providerId="LiveId" clId="{12DFA05D-CFCB-0247-9D1B-E6FD9FB33305}" dt="2020-05-22T04:22:13.427" v="2115" actId="478"/>
          <ac:grpSpMkLst>
            <pc:docMk/>
            <pc:sldMk cId="3705401211" sldId="510"/>
            <ac:grpSpMk id="25" creationId="{00000000-0000-0000-0000-000000000000}"/>
          </ac:grpSpMkLst>
        </pc:grpChg>
        <pc:grpChg chg="del">
          <ac:chgData name="Dina Zhanibekova" userId="7f5429faef2cd498" providerId="LiveId" clId="{12DFA05D-CFCB-0247-9D1B-E6FD9FB33305}" dt="2020-05-22T04:22:19.525" v="2116" actId="478"/>
          <ac:grpSpMkLst>
            <pc:docMk/>
            <pc:sldMk cId="3705401211" sldId="510"/>
            <ac:grpSpMk id="94" creationId="{00000000-0000-0000-0000-000000000000}"/>
          </ac:grpSpMkLst>
        </pc:grpChg>
        <pc:picChg chg="del">
          <ac:chgData name="Dina Zhanibekova" userId="7f5429faef2cd498" providerId="LiveId" clId="{12DFA05D-CFCB-0247-9D1B-E6FD9FB33305}" dt="2020-05-22T04:22:19.525" v="2116" actId="478"/>
          <ac:picMkLst>
            <pc:docMk/>
            <pc:sldMk cId="3705401211" sldId="510"/>
            <ac:picMk id="91" creationId="{00000000-0000-0000-0000-000000000000}"/>
          </ac:picMkLst>
        </pc:picChg>
      </pc:sldChg>
      <pc:sldChg chg="addSp delSp modSp">
        <pc:chgData name="Dina Zhanibekova" userId="7f5429faef2cd498" providerId="LiveId" clId="{12DFA05D-CFCB-0247-9D1B-E6FD9FB33305}" dt="2020-05-22T11:21:21.250" v="6432" actId="14100"/>
        <pc:sldMkLst>
          <pc:docMk/>
          <pc:sldMk cId="3553472986" sldId="715"/>
        </pc:sldMkLst>
        <pc:spChg chg="add mod">
          <ac:chgData name="Dina Zhanibekova" userId="7f5429faef2cd498" providerId="LiveId" clId="{12DFA05D-CFCB-0247-9D1B-E6FD9FB33305}" dt="2020-05-22T11:21:21.250" v="6432" actId="14100"/>
          <ac:spMkLst>
            <pc:docMk/>
            <pc:sldMk cId="3553472986" sldId="715"/>
            <ac:spMk id="98" creationId="{FA05F41D-1D34-0F4F-AB55-DD1F6003885A}"/>
          </ac:spMkLst>
        </pc:spChg>
        <pc:spChg chg="del mod">
          <ac:chgData name="Dina Zhanibekova" userId="7f5429faef2cd498" providerId="LiveId" clId="{12DFA05D-CFCB-0247-9D1B-E6FD9FB33305}" dt="2020-05-22T10:05:30.314" v="5725" actId="478"/>
          <ac:spMkLst>
            <pc:docMk/>
            <pc:sldMk cId="3553472986" sldId="715"/>
            <ac:spMk id="114" creationId="{3C843BDB-E50A-0446-A8E2-55D3F0D90DDD}"/>
          </ac:spMkLst>
        </pc:spChg>
        <pc:spChg chg="mod">
          <ac:chgData name="Dina Zhanibekova" userId="7f5429faef2cd498" providerId="LiveId" clId="{12DFA05D-CFCB-0247-9D1B-E6FD9FB33305}" dt="2020-05-21T06:19:44.713" v="481" actId="403"/>
          <ac:spMkLst>
            <pc:docMk/>
            <pc:sldMk cId="3553472986" sldId="715"/>
            <ac:spMk id="278" creationId="{6846D95D-ACE7-934B-93E4-C8775BC73DA7}"/>
          </ac:spMkLst>
        </pc:spChg>
        <pc:spChg chg="mod">
          <ac:chgData name="Dina Zhanibekova" userId="7f5429faef2cd498" providerId="LiveId" clId="{12DFA05D-CFCB-0247-9D1B-E6FD9FB33305}" dt="2020-05-22T04:47:14.565" v="2734" actId="20577"/>
          <ac:spMkLst>
            <pc:docMk/>
            <pc:sldMk cId="3553472986" sldId="715"/>
            <ac:spMk id="445" creationId="{2B506D87-425E-2E46-A89C-7D8B3F78EFB3}"/>
          </ac:spMkLst>
        </pc:spChg>
      </pc:sldChg>
      <pc:sldChg chg="addSp delSp modSp">
        <pc:chgData name="Dina Zhanibekova" userId="7f5429faef2cd498" providerId="LiveId" clId="{12DFA05D-CFCB-0247-9D1B-E6FD9FB33305}" dt="2020-05-22T10:43:57.462" v="6154" actId="20577"/>
        <pc:sldMkLst>
          <pc:docMk/>
          <pc:sldMk cId="2018836363" sldId="718"/>
        </pc:sldMkLst>
        <pc:spChg chg="mod">
          <ac:chgData name="Dina Zhanibekova" userId="7f5429faef2cd498" providerId="LiveId" clId="{12DFA05D-CFCB-0247-9D1B-E6FD9FB33305}" dt="2020-05-21T06:21:36.190" v="528" actId="1076"/>
          <ac:spMkLst>
            <pc:docMk/>
            <pc:sldMk cId="2018836363" sldId="718"/>
            <ac:spMk id="28" creationId="{9D76D2BA-7C6B-9342-A86C-2A277F626C2B}"/>
          </ac:spMkLst>
        </pc:spChg>
        <pc:spChg chg="mod">
          <ac:chgData name="Dina Zhanibekova" userId="7f5429faef2cd498" providerId="LiveId" clId="{12DFA05D-CFCB-0247-9D1B-E6FD9FB33305}" dt="2020-05-22T10:43:15.610" v="6115" actId="20577"/>
          <ac:spMkLst>
            <pc:docMk/>
            <pc:sldMk cId="2018836363" sldId="718"/>
            <ac:spMk id="30" creationId="{B3736003-5ADF-4B49-A051-0843C21E6E9C}"/>
          </ac:spMkLst>
        </pc:spChg>
        <pc:spChg chg="add del mod">
          <ac:chgData name="Dina Zhanibekova" userId="7f5429faef2cd498" providerId="LiveId" clId="{12DFA05D-CFCB-0247-9D1B-E6FD9FB33305}" dt="2020-05-22T10:14:18.627" v="5786" actId="478"/>
          <ac:spMkLst>
            <pc:docMk/>
            <pc:sldMk cId="2018836363" sldId="718"/>
            <ac:spMk id="56" creationId="{2E0EF5BB-0C5E-ED48-A23F-75A2F51F899D}"/>
          </ac:spMkLst>
        </pc:spChg>
        <pc:spChg chg="mod">
          <ac:chgData name="Dina Zhanibekova" userId="7f5429faef2cd498" providerId="LiveId" clId="{12DFA05D-CFCB-0247-9D1B-E6FD9FB33305}" dt="2020-05-21T06:22:36.384" v="554" actId="1035"/>
          <ac:spMkLst>
            <pc:docMk/>
            <pc:sldMk cId="2018836363" sldId="718"/>
            <ac:spMk id="64" creationId="{9B770240-723F-454F-ADD5-227F0358387D}"/>
          </ac:spMkLst>
        </pc:spChg>
        <pc:spChg chg="mod">
          <ac:chgData name="Dina Zhanibekova" userId="7f5429faef2cd498" providerId="LiveId" clId="{12DFA05D-CFCB-0247-9D1B-E6FD9FB33305}" dt="2020-05-21T06:20:51.912" v="489"/>
          <ac:spMkLst>
            <pc:docMk/>
            <pc:sldMk cId="2018836363" sldId="718"/>
            <ac:spMk id="66" creationId="{4BE08F4F-6D17-0E41-BAB7-3821DB349211}"/>
          </ac:spMkLst>
        </pc:spChg>
        <pc:spChg chg="mod">
          <ac:chgData name="Dina Zhanibekova" userId="7f5429faef2cd498" providerId="LiveId" clId="{12DFA05D-CFCB-0247-9D1B-E6FD9FB33305}" dt="2020-05-21T06:22:15.883" v="546" actId="12"/>
          <ac:spMkLst>
            <pc:docMk/>
            <pc:sldMk cId="2018836363" sldId="718"/>
            <ac:spMk id="68" creationId="{23EAAAEF-3DE0-7A40-8A17-3C87C64AC94C}"/>
          </ac:spMkLst>
        </pc:spChg>
        <pc:spChg chg="mod">
          <ac:chgData name="Dina Zhanibekova" userId="7f5429faef2cd498" providerId="LiveId" clId="{12DFA05D-CFCB-0247-9D1B-E6FD9FB33305}" dt="2020-05-22T10:31:11.008" v="5989" actId="108"/>
          <ac:spMkLst>
            <pc:docMk/>
            <pc:sldMk cId="2018836363" sldId="718"/>
            <ac:spMk id="87" creationId="{3A8FAB96-743A-D741-9F9B-C35CAF68C28D}"/>
          </ac:spMkLst>
        </pc:spChg>
        <pc:spChg chg="mod">
          <ac:chgData name="Dina Zhanibekova" userId="7f5429faef2cd498" providerId="LiveId" clId="{12DFA05D-CFCB-0247-9D1B-E6FD9FB33305}" dt="2020-05-22T10:42:41.658" v="6110" actId="20577"/>
          <ac:spMkLst>
            <pc:docMk/>
            <pc:sldMk cId="2018836363" sldId="718"/>
            <ac:spMk id="91" creationId="{5FB70A34-C87C-E141-8971-F58F73D47DD1}"/>
          </ac:spMkLst>
        </pc:spChg>
        <pc:spChg chg="mod">
          <ac:chgData name="Dina Zhanibekova" userId="7f5429faef2cd498" providerId="LiveId" clId="{12DFA05D-CFCB-0247-9D1B-E6FD9FB33305}" dt="2020-05-22T10:43:57.462" v="6154" actId="20577"/>
          <ac:spMkLst>
            <pc:docMk/>
            <pc:sldMk cId="2018836363" sldId="718"/>
            <ac:spMk id="243" creationId="{1CDE0F58-E497-954B-9977-EE00A8B36AB9}"/>
          </ac:spMkLst>
        </pc:spChg>
        <pc:spChg chg="mod">
          <ac:chgData name="Dina Zhanibekova" userId="7f5429faef2cd498" providerId="LiveId" clId="{12DFA05D-CFCB-0247-9D1B-E6FD9FB33305}" dt="2020-05-21T06:28:53.722" v="641"/>
          <ac:spMkLst>
            <pc:docMk/>
            <pc:sldMk cId="2018836363" sldId="718"/>
            <ac:spMk id="278" creationId="{6846D95D-ACE7-934B-93E4-C8775BC73DA7}"/>
          </ac:spMkLst>
        </pc:spChg>
        <pc:grpChg chg="mod">
          <ac:chgData name="Dina Zhanibekova" userId="7f5429faef2cd498" providerId="LiveId" clId="{12DFA05D-CFCB-0247-9D1B-E6FD9FB33305}" dt="2020-05-22T10:40:17.954" v="6083" actId="1076"/>
          <ac:grpSpMkLst>
            <pc:docMk/>
            <pc:sldMk cId="2018836363" sldId="718"/>
            <ac:grpSpMk id="37" creationId="{55A31BB9-5BB9-424B-A5D0-4B4649343DA9}"/>
          </ac:grpSpMkLst>
        </pc:grpChg>
        <pc:grpChg chg="mod">
          <ac:chgData name="Dina Zhanibekova" userId="7f5429faef2cd498" providerId="LiveId" clId="{12DFA05D-CFCB-0247-9D1B-E6FD9FB33305}" dt="2020-05-21T06:22:36.384" v="554" actId="1035"/>
          <ac:grpSpMkLst>
            <pc:docMk/>
            <pc:sldMk cId="2018836363" sldId="718"/>
            <ac:grpSpMk id="41" creationId="{5E7E765E-6BE4-3245-A71B-4176CBEE8DB3}"/>
          </ac:grpSpMkLst>
        </pc:grpChg>
        <pc:grpChg chg="mod">
          <ac:chgData name="Dina Zhanibekova" userId="7f5429faef2cd498" providerId="LiveId" clId="{12DFA05D-CFCB-0247-9D1B-E6FD9FB33305}" dt="2020-05-21T06:20:51.912" v="489"/>
          <ac:grpSpMkLst>
            <pc:docMk/>
            <pc:sldMk cId="2018836363" sldId="718"/>
            <ac:grpSpMk id="65" creationId="{7FB7B0CB-FF25-6443-A0AF-A282621C8C95}"/>
          </ac:grpSpMkLst>
        </pc:grpChg>
        <pc:graphicFrameChg chg="del mod">
          <ac:chgData name="Dina Zhanibekova" userId="7f5429faef2cd498" providerId="LiveId" clId="{12DFA05D-CFCB-0247-9D1B-E6FD9FB33305}" dt="2020-05-22T10:38:37.906" v="6075" actId="478"/>
          <ac:graphicFrameMkLst>
            <pc:docMk/>
            <pc:sldMk cId="2018836363" sldId="718"/>
            <ac:graphicFrameMk id="54" creationId="{E936F18D-546B-054B-82DF-9A66D038CBB1}"/>
          </ac:graphicFrameMkLst>
        </pc:graphicFrameChg>
        <pc:graphicFrameChg chg="del mod">
          <ac:chgData name="Dina Zhanibekova" userId="7f5429faef2cd498" providerId="LiveId" clId="{12DFA05D-CFCB-0247-9D1B-E6FD9FB33305}" dt="2020-05-22T10:41:53.245" v="6094" actId="478"/>
          <ac:graphicFrameMkLst>
            <pc:docMk/>
            <pc:sldMk cId="2018836363" sldId="718"/>
            <ac:graphicFrameMk id="55" creationId="{CEEED227-4E1A-254E-A810-1FAD96D98911}"/>
          </ac:graphicFrameMkLst>
        </pc:graphicFrameChg>
        <pc:graphicFrameChg chg="add mod">
          <ac:chgData name="Dina Zhanibekova" userId="7f5429faef2cd498" providerId="LiveId" clId="{12DFA05D-CFCB-0247-9D1B-E6FD9FB33305}" dt="2020-05-22T10:32:20.311" v="6000" actId="1076"/>
          <ac:graphicFrameMkLst>
            <pc:docMk/>
            <pc:sldMk cId="2018836363" sldId="718"/>
            <ac:graphicFrameMk id="57" creationId="{E70FC7D3-E936-41A9-A717-F88F653FECB4}"/>
          </ac:graphicFrameMkLst>
        </pc:graphicFrameChg>
        <pc:graphicFrameChg chg="add del mod">
          <ac:chgData name="Dina Zhanibekova" userId="7f5429faef2cd498" providerId="LiveId" clId="{12DFA05D-CFCB-0247-9D1B-E6FD9FB33305}" dt="2020-05-22T10:37:08.653" v="6053" actId="478"/>
          <ac:graphicFrameMkLst>
            <pc:docMk/>
            <pc:sldMk cId="2018836363" sldId="718"/>
            <ac:graphicFrameMk id="58" creationId="{01639B24-AF9F-4FB8-A9F4-1D538E2BC033}"/>
          </ac:graphicFrameMkLst>
        </pc:graphicFrameChg>
        <pc:graphicFrameChg chg="add mod">
          <ac:chgData name="Dina Zhanibekova" userId="7f5429faef2cd498" providerId="LiveId" clId="{12DFA05D-CFCB-0247-9D1B-E6FD9FB33305}" dt="2020-05-22T10:41:36.899" v="6092" actId="14100"/>
          <ac:graphicFrameMkLst>
            <pc:docMk/>
            <pc:sldMk cId="2018836363" sldId="718"/>
            <ac:graphicFrameMk id="59" creationId="{41B577E6-4465-B54C-982D-752C930C966D}"/>
          </ac:graphicFrameMkLst>
        </pc:graphicFrameChg>
        <pc:graphicFrameChg chg="add del mod">
          <ac:chgData name="Dina Zhanibekova" userId="7f5429faef2cd498" providerId="LiveId" clId="{12DFA05D-CFCB-0247-9D1B-E6FD9FB33305}" dt="2020-05-22T10:40:31.434" v="6086" actId="478"/>
          <ac:graphicFrameMkLst>
            <pc:docMk/>
            <pc:sldMk cId="2018836363" sldId="718"/>
            <ac:graphicFrameMk id="60" creationId="{358BA336-BB8C-BC43-99EF-58A2D14BFBC0}"/>
          </ac:graphicFrameMkLst>
        </pc:graphicFrameChg>
        <pc:graphicFrameChg chg="add mod">
          <ac:chgData name="Dina Zhanibekova" userId="7f5429faef2cd498" providerId="LiveId" clId="{12DFA05D-CFCB-0247-9D1B-E6FD9FB33305}" dt="2020-05-22T10:42:26.580" v="6108"/>
          <ac:graphicFrameMkLst>
            <pc:docMk/>
            <pc:sldMk cId="2018836363" sldId="718"/>
            <ac:graphicFrameMk id="61" creationId="{358BA336-BB8C-BC43-99EF-58A2D14BFBC0}"/>
          </ac:graphicFrameMkLst>
        </pc:graphicFrameChg>
        <pc:graphicFrameChg chg="del mod">
          <ac:chgData name="Dina Zhanibekova" userId="7f5429faef2cd498" providerId="LiveId" clId="{12DFA05D-CFCB-0247-9D1B-E6FD9FB33305}" dt="2020-05-22T10:29:17.939" v="5956" actId="478"/>
          <ac:graphicFrameMkLst>
            <pc:docMk/>
            <pc:sldMk cId="2018836363" sldId="718"/>
            <ac:graphicFrameMk id="79" creationId="{E70FC7D3-E936-41A9-A717-F88F653FECB4}"/>
          </ac:graphicFrameMkLst>
        </pc:graphicFrameChg>
      </pc:sldChg>
      <pc:sldChg chg="modSp">
        <pc:chgData name="Dina Zhanibekova" userId="7f5429faef2cd498" providerId="LiveId" clId="{12DFA05D-CFCB-0247-9D1B-E6FD9FB33305}" dt="2020-05-22T05:08:53.234" v="3009"/>
        <pc:sldMkLst>
          <pc:docMk/>
          <pc:sldMk cId="2727475196" sldId="721"/>
        </pc:sldMkLst>
        <pc:spChg chg="mod">
          <ac:chgData name="Dina Zhanibekova" userId="7f5429faef2cd498" providerId="LiveId" clId="{12DFA05D-CFCB-0247-9D1B-E6FD9FB33305}" dt="2020-05-21T06:07:01.042" v="358" actId="20577"/>
          <ac:spMkLst>
            <pc:docMk/>
            <pc:sldMk cId="2727475196" sldId="721"/>
            <ac:spMk id="278" creationId="{6846D95D-ACE7-934B-93E4-C8775BC73DA7}"/>
          </ac:spMkLst>
        </pc:spChg>
        <pc:graphicFrameChg chg="mod">
          <ac:chgData name="Dina Zhanibekova" userId="7f5429faef2cd498" providerId="LiveId" clId="{12DFA05D-CFCB-0247-9D1B-E6FD9FB33305}" dt="2020-05-22T05:08:53.234" v="3009"/>
          <ac:graphicFrameMkLst>
            <pc:docMk/>
            <pc:sldMk cId="2727475196" sldId="721"/>
            <ac:graphicFrameMk id="99" creationId="{920A7F8F-C9E8-C64B-B12E-F7B0FD9A7B08}"/>
          </ac:graphicFrameMkLst>
        </pc:graphicFrameChg>
      </pc:sldChg>
      <pc:sldChg chg="modSp del">
        <pc:chgData name="Dina Zhanibekova" userId="7f5429faef2cd498" providerId="LiveId" clId="{12DFA05D-CFCB-0247-9D1B-E6FD9FB33305}" dt="2020-05-21T06:24:50.220" v="595" actId="2696"/>
        <pc:sldMkLst>
          <pc:docMk/>
          <pc:sldMk cId="2843641078" sldId="723"/>
        </pc:sldMkLst>
        <pc:spChg chg="mod">
          <ac:chgData name="Dina Zhanibekova" userId="7f5429faef2cd498" providerId="LiveId" clId="{12DFA05D-CFCB-0247-9D1B-E6FD9FB33305}" dt="2020-05-21T06:23:55.279" v="594" actId="20577"/>
          <ac:spMkLst>
            <pc:docMk/>
            <pc:sldMk cId="2843641078" sldId="723"/>
            <ac:spMk id="278" creationId="{6846D95D-ACE7-934B-93E4-C8775BC73DA7}"/>
          </ac:spMkLst>
        </pc:spChg>
      </pc:sldChg>
      <pc:sldChg chg="delSp modSp del">
        <pc:chgData name="Dina Zhanibekova" userId="7f5429faef2cd498" providerId="LiveId" clId="{12DFA05D-CFCB-0247-9D1B-E6FD9FB33305}" dt="2020-05-22T10:14:04.247" v="5785" actId="2696"/>
        <pc:sldMkLst>
          <pc:docMk/>
          <pc:sldMk cId="4277699982" sldId="724"/>
        </pc:sldMkLst>
        <pc:spChg chg="del">
          <ac:chgData name="Dina Zhanibekova" userId="7f5429faef2cd498" providerId="LiveId" clId="{12DFA05D-CFCB-0247-9D1B-E6FD9FB33305}" dt="2020-05-21T05:50:53.989" v="2" actId="478"/>
          <ac:spMkLst>
            <pc:docMk/>
            <pc:sldMk cId="4277699982" sldId="724"/>
            <ac:spMk id="13" creationId="{276C2F79-99CC-1F46-8687-C5A7EEB45782}"/>
          </ac:spMkLst>
        </pc:spChg>
        <pc:spChg chg="mod">
          <ac:chgData name="Dina Zhanibekova" userId="7f5429faef2cd498" providerId="LiveId" clId="{12DFA05D-CFCB-0247-9D1B-E6FD9FB33305}" dt="2020-05-22T05:01:18.818" v="2903"/>
          <ac:spMkLst>
            <pc:docMk/>
            <pc:sldMk cId="4277699982" sldId="724"/>
            <ac:spMk id="15" creationId="{654EC117-CB5C-CD4F-B95F-75A960EF5D5D}"/>
          </ac:spMkLst>
        </pc:spChg>
        <pc:spChg chg="mod">
          <ac:chgData name="Dina Zhanibekova" userId="7f5429faef2cd498" providerId="LiveId" clId="{12DFA05D-CFCB-0247-9D1B-E6FD9FB33305}" dt="2020-05-21T06:25:52.803" v="629" actId="20577"/>
          <ac:spMkLst>
            <pc:docMk/>
            <pc:sldMk cId="4277699982" sldId="724"/>
            <ac:spMk id="17" creationId="{921755B6-9BCB-5A44-B730-BC391E5D3770}"/>
          </ac:spMkLst>
        </pc:spChg>
        <pc:spChg chg="del">
          <ac:chgData name="Dina Zhanibekova" userId="7f5429faef2cd498" providerId="LiveId" clId="{12DFA05D-CFCB-0247-9D1B-E6FD9FB33305}" dt="2020-05-21T05:50:53.989" v="2" actId="478"/>
          <ac:spMkLst>
            <pc:docMk/>
            <pc:sldMk cId="4277699982" sldId="724"/>
            <ac:spMk id="18" creationId="{3E74C5BD-7ED7-5445-BF88-7BC17CA103E1}"/>
          </ac:spMkLst>
        </pc:spChg>
        <pc:spChg chg="mod">
          <ac:chgData name="Dina Zhanibekova" userId="7f5429faef2cd498" providerId="LiveId" clId="{12DFA05D-CFCB-0247-9D1B-E6FD9FB33305}" dt="2020-05-21T06:25:16.534" v="598" actId="20577"/>
          <ac:spMkLst>
            <pc:docMk/>
            <pc:sldMk cId="4277699982" sldId="724"/>
            <ac:spMk id="125" creationId="{7530387D-2B9A-4D17-9FCE-3D220BBC3852}"/>
          </ac:spMkLst>
        </pc:spChg>
      </pc:sldChg>
      <pc:sldChg chg="del ord">
        <pc:chgData name="Dina Zhanibekova" userId="7f5429faef2cd498" providerId="LiveId" clId="{12DFA05D-CFCB-0247-9D1B-E6FD9FB33305}" dt="2020-05-21T06:55:38.407" v="1104" actId="2696"/>
        <pc:sldMkLst>
          <pc:docMk/>
          <pc:sldMk cId="1807385019" sldId="725"/>
        </pc:sldMkLst>
      </pc:sldChg>
      <pc:sldChg chg="del">
        <pc:chgData name="Dina Zhanibekova" userId="7f5429faef2cd498" providerId="LiveId" clId="{12DFA05D-CFCB-0247-9D1B-E6FD9FB33305}" dt="2020-05-21T07:18:09.546" v="1456" actId="2696"/>
        <pc:sldMkLst>
          <pc:docMk/>
          <pc:sldMk cId="2417601987" sldId="735"/>
        </pc:sldMkLst>
      </pc:sldChg>
      <pc:sldChg chg="del">
        <pc:chgData name="Dina Zhanibekova" userId="7f5429faef2cd498" providerId="LiveId" clId="{12DFA05D-CFCB-0247-9D1B-E6FD9FB33305}" dt="2020-05-21T06:33:46.456" v="722" actId="2696"/>
        <pc:sldMkLst>
          <pc:docMk/>
          <pc:sldMk cId="506082863" sldId="736"/>
        </pc:sldMkLst>
      </pc:sldChg>
      <pc:sldChg chg="addSp delSp modSp add">
        <pc:chgData name="Dina Zhanibekova" userId="7f5429faef2cd498" providerId="LiveId" clId="{12DFA05D-CFCB-0247-9D1B-E6FD9FB33305}" dt="2020-05-22T11:27:36.549" v="6437"/>
        <pc:sldMkLst>
          <pc:docMk/>
          <pc:sldMk cId="531482577" sldId="737"/>
        </pc:sldMkLst>
        <pc:spChg chg="add mod">
          <ac:chgData name="Dina Zhanibekova" userId="7f5429faef2cd498" providerId="LiveId" clId="{12DFA05D-CFCB-0247-9D1B-E6FD9FB33305}" dt="2020-05-22T11:27:36.549" v="6437"/>
          <ac:spMkLst>
            <pc:docMk/>
            <pc:sldMk cId="531482577" sldId="737"/>
            <ac:spMk id="24" creationId="{92C95264-0F17-0043-99FA-F64A9D7C56D1}"/>
          </ac:spMkLst>
        </pc:spChg>
        <pc:spChg chg="del">
          <ac:chgData name="Dina Zhanibekova" userId="7f5429faef2cd498" providerId="LiveId" clId="{12DFA05D-CFCB-0247-9D1B-E6FD9FB33305}" dt="2020-05-22T11:27:35.532" v="6436" actId="478"/>
          <ac:spMkLst>
            <pc:docMk/>
            <pc:sldMk cId="531482577" sldId="737"/>
            <ac:spMk id="243" creationId="{1CDE0F58-E497-954B-9977-EE00A8B36AB9}"/>
          </ac:spMkLst>
        </pc:spChg>
        <pc:picChg chg="del mod">
          <ac:chgData name="Dina Zhanibekova" userId="7f5429faef2cd498" providerId="LiveId" clId="{12DFA05D-CFCB-0247-9D1B-E6FD9FB33305}" dt="2020-05-22T11:27:28.654" v="6435" actId="478"/>
          <ac:picMkLst>
            <pc:docMk/>
            <pc:sldMk cId="531482577" sldId="737"/>
            <ac:picMk id="67" creationId="{528FEE11-A3C2-4E45-8069-E60C9F645AAC}"/>
          </ac:picMkLst>
        </pc:picChg>
      </pc:sldChg>
      <pc:sldChg chg="addSp delSp modSp del">
        <pc:chgData name="Dina Zhanibekova" userId="7f5429faef2cd498" providerId="LiveId" clId="{12DFA05D-CFCB-0247-9D1B-E6FD9FB33305}" dt="2020-05-21T07:17:36.777" v="1453" actId="2696"/>
        <pc:sldMkLst>
          <pc:docMk/>
          <pc:sldMk cId="3843085439" sldId="737"/>
        </pc:sldMkLst>
        <pc:spChg chg="add mod">
          <ac:chgData name="Dina Zhanibekova" userId="7f5429faef2cd498" providerId="LiveId" clId="{12DFA05D-CFCB-0247-9D1B-E6FD9FB33305}" dt="2020-05-21T06:58:34.809" v="1181"/>
          <ac:spMkLst>
            <pc:docMk/>
            <pc:sldMk cId="3843085439" sldId="737"/>
            <ac:spMk id="5" creationId="{8BA4F797-D0B4-8E47-8A33-6D3E18417D25}"/>
          </ac:spMkLst>
        </pc:spChg>
        <pc:spChg chg="del">
          <ac:chgData name="Dina Zhanibekova" userId="7f5429faef2cd498" providerId="LiveId" clId="{12DFA05D-CFCB-0247-9D1B-E6FD9FB33305}" dt="2020-05-21T06:09:38.519" v="365" actId="478"/>
          <ac:spMkLst>
            <pc:docMk/>
            <pc:sldMk cId="3843085439" sldId="737"/>
            <ac:spMk id="6" creationId="{90C2E6A8-83FE-6F4C-93A0-4FBD29F371E5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17" creationId="{2D6D7B79-E97A-254D-A1C6-AE9F23AAD9FC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18" creationId="{7548BC20-5C20-6D48-A28C-6279C1BBAC97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19" creationId="{E82093F9-FD02-F041-81FB-E70178F4CCC5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20" creationId="{83EDA2E1-5437-B64A-BDFB-6D571F6FA771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22" creationId="{D3BA70BB-FAF1-6346-AD50-DCEFC82610F8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23" creationId="{C3B1761B-AA96-1949-9F06-65501B631B2E}"/>
          </ac:spMkLst>
        </pc:spChg>
        <pc:spChg chg="mod">
          <ac:chgData name="Dina Zhanibekova" userId="7f5429faef2cd498" providerId="LiveId" clId="{12DFA05D-CFCB-0247-9D1B-E6FD9FB33305}" dt="2020-05-21T06:09:43.742" v="366" actId="1076"/>
          <ac:spMkLst>
            <pc:docMk/>
            <pc:sldMk cId="3843085439" sldId="737"/>
            <ac:spMk id="26" creationId="{A2785B9E-EF70-5140-A6BE-2517E25E9255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27" creationId="{64F66CEE-2E52-0343-8B4F-2030736DA2D4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28" creationId="{90230E39-DA8F-A547-8E9A-9B0B81FAB697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0" creationId="{D8ED85A2-F4A9-CF4A-B8D6-20A3594A2033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1" creationId="{F818B758-864D-5349-BC32-E1C2774ECE27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2" creationId="{277AE4FE-ACC3-5E4D-82FD-63B6A7DBE5E9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3" creationId="{1E748B62-426F-864D-928A-BCEE15F64302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4" creationId="{261EEE1C-2791-D240-B0F3-CAE9E7289DFC}"/>
          </ac:spMkLst>
        </pc:spChg>
        <pc:spChg chg="mod">
          <ac:chgData name="Dina Zhanibekova" userId="7f5429faef2cd498" providerId="LiveId" clId="{12DFA05D-CFCB-0247-9D1B-E6FD9FB33305}" dt="2020-05-21T06:15:23.631" v="432" actId="1076"/>
          <ac:spMkLst>
            <pc:docMk/>
            <pc:sldMk cId="3843085439" sldId="737"/>
            <ac:spMk id="35" creationId="{541881A3-A0DE-AF49-A141-EE8139766318}"/>
          </ac:spMkLst>
        </pc:spChg>
        <pc:spChg chg="add mod">
          <ac:chgData name="Dina Zhanibekova" userId="7f5429faef2cd498" providerId="LiveId" clId="{12DFA05D-CFCB-0247-9D1B-E6FD9FB33305}" dt="2020-05-21T06:16:42.408" v="465" actId="20577"/>
          <ac:spMkLst>
            <pc:docMk/>
            <pc:sldMk cId="3843085439" sldId="737"/>
            <ac:spMk id="36" creationId="{61A19A52-9F75-3245-8CBB-C61F9F5C40A7}"/>
          </ac:spMkLst>
        </pc:spChg>
        <pc:spChg chg="mod">
          <ac:chgData name="Dina Zhanibekova" userId="7f5429faef2cd498" providerId="LiveId" clId="{12DFA05D-CFCB-0247-9D1B-E6FD9FB33305}" dt="2020-05-21T06:15:05.977" v="430" actId="20577"/>
          <ac:spMkLst>
            <pc:docMk/>
            <pc:sldMk cId="3843085439" sldId="737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1T06:10:06.341" v="372" actId="1076"/>
          <ac:spMkLst>
            <pc:docMk/>
            <pc:sldMk cId="3843085439" sldId="737"/>
            <ac:spMk id="141" creationId="{456C39D3-9BF1-CA45-80FC-A5E62BDD3073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210" creationId="{C37419DE-1A48-AF48-AC73-F944B4980251}"/>
          </ac:spMkLst>
        </pc:spChg>
        <pc:spChg chg="mod">
          <ac:chgData name="Dina Zhanibekova" userId="7f5429faef2cd498" providerId="LiveId" clId="{12DFA05D-CFCB-0247-9D1B-E6FD9FB33305}" dt="2020-05-21T06:10:01.717" v="371" actId="1076"/>
          <ac:spMkLst>
            <pc:docMk/>
            <pc:sldMk cId="3843085439" sldId="737"/>
            <ac:spMk id="216" creationId="{0DCBC548-EE29-E84E-AAD6-0622C5207351}"/>
          </ac:spMkLst>
        </pc:spChg>
        <pc:spChg chg="mod">
          <ac:chgData name="Dina Zhanibekova" userId="7f5429faef2cd498" providerId="LiveId" clId="{12DFA05D-CFCB-0247-9D1B-E6FD9FB33305}" dt="2020-05-21T06:15:50.067" v="435"/>
          <ac:spMkLst>
            <pc:docMk/>
            <pc:sldMk cId="3843085439" sldId="737"/>
            <ac:spMk id="243" creationId="{1CDE0F58-E497-954B-9977-EE00A8B36AB9}"/>
          </ac:spMkLst>
        </pc:spChg>
        <pc:grpChg chg="add mod">
          <ac:chgData name="Dina Zhanibekova" userId="7f5429faef2cd498" providerId="LiveId" clId="{12DFA05D-CFCB-0247-9D1B-E6FD9FB33305}" dt="2020-05-21T06:10:01.717" v="371" actId="1076"/>
          <ac:grpSpMkLst>
            <pc:docMk/>
            <pc:sldMk cId="3843085439" sldId="737"/>
            <ac:grpSpMk id="3" creationId="{55378230-48B2-6744-8D28-A41CD8FA6377}"/>
          </ac:grpSpMkLst>
        </pc:grpChg>
        <pc:grpChg chg="add mod">
          <ac:chgData name="Dina Zhanibekova" userId="7f5429faef2cd498" providerId="LiveId" clId="{12DFA05D-CFCB-0247-9D1B-E6FD9FB33305}" dt="2020-05-21T06:15:23.631" v="432" actId="1076"/>
          <ac:grpSpMkLst>
            <pc:docMk/>
            <pc:sldMk cId="3843085439" sldId="737"/>
            <ac:grpSpMk id="24" creationId="{218C0AC7-48EE-354B-BB6E-3575483F21D4}"/>
          </ac:grpSpMkLst>
        </pc:grpChg>
        <pc:graphicFrameChg chg="mod">
          <ac:chgData name="Dina Zhanibekova" userId="7f5429faef2cd498" providerId="LiveId" clId="{12DFA05D-CFCB-0247-9D1B-E6FD9FB33305}" dt="2020-05-21T06:17:18.229" v="466" actId="207"/>
          <ac:graphicFrameMkLst>
            <pc:docMk/>
            <pc:sldMk cId="3843085439" sldId="737"/>
            <ac:graphicFrameMk id="25" creationId="{4AEB0B48-B7A9-40C9-8D45-64F934612BE6}"/>
          </ac:graphicFrameMkLst>
        </pc:graphicFrameChg>
        <pc:graphicFrameChg chg="mod">
          <ac:chgData name="Dina Zhanibekova" userId="7f5429faef2cd498" providerId="LiveId" clId="{12DFA05D-CFCB-0247-9D1B-E6FD9FB33305}" dt="2020-05-21T06:15:23.631" v="432" actId="1076"/>
          <ac:graphicFrameMkLst>
            <pc:docMk/>
            <pc:sldMk cId="3843085439" sldId="737"/>
            <ac:graphicFrameMk id="29" creationId="{5D8626B3-5317-F74D-B0A9-BD6D6FF7CD53}"/>
          </ac:graphicFrameMkLst>
        </pc:graphicFrameChg>
      </pc:sldChg>
      <pc:sldChg chg="addSp delSp modSp">
        <pc:chgData name="Dina Zhanibekova" userId="7f5429faef2cd498" providerId="LiveId" clId="{12DFA05D-CFCB-0247-9D1B-E6FD9FB33305}" dt="2020-05-22T11:19:53.298" v="6420" actId="403"/>
        <pc:sldMkLst>
          <pc:docMk/>
          <pc:sldMk cId="808686007" sldId="738"/>
        </pc:sldMkLst>
        <pc:spChg chg="mod">
          <ac:chgData name="Dina Zhanibekova" userId="7f5429faef2cd498" providerId="LiveId" clId="{12DFA05D-CFCB-0247-9D1B-E6FD9FB33305}" dt="2020-05-22T11:16:32.119" v="6408" actId="20577"/>
          <ac:spMkLst>
            <pc:docMk/>
            <pc:sldMk cId="808686007" sldId="738"/>
            <ac:spMk id="6" creationId="{90C2E6A8-83FE-6F4C-93A0-4FBD29F371E5}"/>
          </ac:spMkLst>
        </pc:spChg>
        <pc:spChg chg="add mod">
          <ac:chgData name="Dina Zhanibekova" userId="7f5429faef2cd498" providerId="LiveId" clId="{12DFA05D-CFCB-0247-9D1B-E6FD9FB33305}" dt="2020-05-22T08:16:46.169" v="5090"/>
          <ac:spMkLst>
            <pc:docMk/>
            <pc:sldMk cId="808686007" sldId="738"/>
            <ac:spMk id="16" creationId="{9DFF1CD6-21BF-6E49-BC4C-E5A15092E445}"/>
          </ac:spMkLst>
        </pc:spChg>
        <pc:spChg chg="mod">
          <ac:chgData name="Dina Zhanibekova" userId="7f5429faef2cd498" providerId="LiveId" clId="{12DFA05D-CFCB-0247-9D1B-E6FD9FB33305}" dt="2020-05-22T08:04:44.931" v="4802" actId="20577"/>
          <ac:spMkLst>
            <pc:docMk/>
            <pc:sldMk cId="808686007" sldId="738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2T11:10:22.227" v="6318" actId="14100"/>
          <ac:spMkLst>
            <pc:docMk/>
            <pc:sldMk cId="808686007" sldId="738"/>
            <ac:spMk id="141" creationId="{456C39D3-9BF1-CA45-80FC-A5E62BDD3073}"/>
          </ac:spMkLst>
        </pc:spChg>
        <pc:spChg chg="del">
          <ac:chgData name="Dina Zhanibekova" userId="7f5429faef2cd498" providerId="LiveId" clId="{12DFA05D-CFCB-0247-9D1B-E6FD9FB33305}" dt="2020-05-22T08:16:45.431" v="5089" actId="478"/>
          <ac:spMkLst>
            <pc:docMk/>
            <pc:sldMk cId="808686007" sldId="738"/>
            <ac:spMk id="243" creationId="{1CDE0F58-E497-954B-9977-EE00A8B36AB9}"/>
          </ac:spMkLst>
        </pc:spChg>
        <pc:graphicFrameChg chg="add del mod">
          <ac:chgData name="Dina Zhanibekova" userId="7f5429faef2cd498" providerId="LiveId" clId="{12DFA05D-CFCB-0247-9D1B-E6FD9FB33305}" dt="2020-05-22T11:19:36.575" v="6409" actId="478"/>
          <ac:graphicFrameMkLst>
            <pc:docMk/>
            <pc:sldMk cId="808686007" sldId="738"/>
            <ac:graphicFrameMk id="17" creationId="{832BAA14-EFBC-BF4B-9E2B-BE8C6840699F}"/>
          </ac:graphicFrameMkLst>
        </pc:graphicFrameChg>
        <pc:graphicFrameChg chg="add mod">
          <ac:chgData name="Dina Zhanibekova" userId="7f5429faef2cd498" providerId="LiveId" clId="{12DFA05D-CFCB-0247-9D1B-E6FD9FB33305}" dt="2020-05-22T11:19:53.298" v="6420" actId="403"/>
          <ac:graphicFrameMkLst>
            <pc:docMk/>
            <pc:sldMk cId="808686007" sldId="738"/>
            <ac:graphicFrameMk id="18" creationId="{832BAA14-EFBC-BF4B-9E2B-BE8C6840699F}"/>
          </ac:graphicFrameMkLst>
        </pc:graphicFrameChg>
        <pc:graphicFrameChg chg="del mod">
          <ac:chgData name="Dina Zhanibekova" userId="7f5429faef2cd498" providerId="LiveId" clId="{12DFA05D-CFCB-0247-9D1B-E6FD9FB33305}" dt="2020-05-22T10:17:25.403" v="5793" actId="478"/>
          <ac:graphicFrameMkLst>
            <pc:docMk/>
            <pc:sldMk cId="808686007" sldId="738"/>
            <ac:graphicFrameMk id="24" creationId="{832BAA14-EFBC-BF4B-9E2B-BE8C6840699F}"/>
          </ac:graphicFrameMkLst>
        </pc:graphicFrameChg>
        <pc:picChg chg="del mod">
          <ac:chgData name="Dina Zhanibekova" userId="7f5429faef2cd498" providerId="LiveId" clId="{12DFA05D-CFCB-0247-9D1B-E6FD9FB33305}" dt="2020-05-21T13:18:59.836" v="2113" actId="478"/>
          <ac:picMkLst>
            <pc:docMk/>
            <pc:sldMk cId="808686007" sldId="738"/>
            <ac:picMk id="67" creationId="{528FEE11-A3C2-4E45-8069-E60C9F645AAC}"/>
          </ac:picMkLst>
        </pc:picChg>
      </pc:sldChg>
      <pc:sldChg chg="delSp modSp del ord">
        <pc:chgData name="Dina Zhanibekova" userId="7f5429faef2cd498" providerId="LiveId" clId="{12DFA05D-CFCB-0247-9D1B-E6FD9FB33305}" dt="2020-05-22T10:13:57.339" v="5784" actId="2696"/>
        <pc:sldMkLst>
          <pc:docMk/>
          <pc:sldMk cId="3731551240" sldId="740"/>
        </pc:sldMkLst>
        <pc:spChg chg="del">
          <ac:chgData name="Dina Zhanibekova" userId="7f5429faef2cd498" providerId="LiveId" clId="{12DFA05D-CFCB-0247-9D1B-E6FD9FB33305}" dt="2020-05-21T06:27:51.949" v="636" actId="478"/>
          <ac:spMkLst>
            <pc:docMk/>
            <pc:sldMk cId="3731551240" sldId="740"/>
            <ac:spMk id="12" creationId="{E536800F-E818-4A49-9F6D-C1A5147F60E6}"/>
          </ac:spMkLst>
        </pc:spChg>
        <pc:spChg chg="mod">
          <ac:chgData name="Dina Zhanibekova" userId="7f5429faef2cd498" providerId="LiveId" clId="{12DFA05D-CFCB-0247-9D1B-E6FD9FB33305}" dt="2020-05-21T06:27:55.432" v="637" actId="20577"/>
          <ac:spMkLst>
            <pc:docMk/>
            <pc:sldMk cId="3731551240" sldId="740"/>
            <ac:spMk id="18" creationId="{0C6CE1E8-BB6B-104D-B5F8-AC1280D1FE24}"/>
          </ac:spMkLst>
        </pc:spChg>
        <pc:spChg chg="mod">
          <ac:chgData name="Dina Zhanibekova" userId="7f5429faef2cd498" providerId="LiveId" clId="{12DFA05D-CFCB-0247-9D1B-E6FD9FB33305}" dt="2020-05-22T05:01:14.033" v="2902" actId="207"/>
          <ac:spMkLst>
            <pc:docMk/>
            <pc:sldMk cId="3731551240" sldId="740"/>
            <ac:spMk id="19" creationId="{659306D9-9A7C-E741-8416-525413512A62}"/>
          </ac:spMkLst>
        </pc:spChg>
        <pc:spChg chg="mod">
          <ac:chgData name="Dina Zhanibekova" userId="7f5429faef2cd498" providerId="LiveId" clId="{12DFA05D-CFCB-0247-9D1B-E6FD9FB33305}" dt="2020-05-21T06:34:03.391" v="725" actId="20577"/>
          <ac:spMkLst>
            <pc:docMk/>
            <pc:sldMk cId="3731551240" sldId="740"/>
            <ac:spMk id="125" creationId="{7530387D-2B9A-4D17-9FCE-3D220BBC3852}"/>
          </ac:spMkLst>
        </pc:spChg>
      </pc:sldChg>
      <pc:sldChg chg="add del ord">
        <pc:chgData name="Dina Zhanibekova" userId="7f5429faef2cd498" providerId="LiveId" clId="{12DFA05D-CFCB-0247-9D1B-E6FD9FB33305}" dt="2020-05-21T07:07:31.956" v="1442" actId="2696"/>
        <pc:sldMkLst>
          <pc:docMk/>
          <pc:sldMk cId="1110623457" sldId="741"/>
        </pc:sldMkLst>
      </pc:sldChg>
      <pc:sldChg chg="add del">
        <pc:chgData name="Dina Zhanibekova" userId="7f5429faef2cd498" providerId="LiveId" clId="{12DFA05D-CFCB-0247-9D1B-E6FD9FB33305}" dt="2020-05-21T06:55:46.773" v="1105" actId="2696"/>
        <pc:sldMkLst>
          <pc:docMk/>
          <pc:sldMk cId="2361433787" sldId="742"/>
        </pc:sldMkLst>
      </pc:sldChg>
      <pc:sldChg chg="addSp delSp modSp add">
        <pc:chgData name="Dina Zhanibekova" userId="7f5429faef2cd498" providerId="LiveId" clId="{12DFA05D-CFCB-0247-9D1B-E6FD9FB33305}" dt="2020-05-22T11:12:56.032" v="6384" actId="313"/>
        <pc:sldMkLst>
          <pc:docMk/>
          <pc:sldMk cId="875568089" sldId="743"/>
        </pc:sldMkLst>
        <pc:spChg chg="add del mod">
          <ac:chgData name="Dina Zhanibekova" userId="7f5429faef2cd498" providerId="LiveId" clId="{12DFA05D-CFCB-0247-9D1B-E6FD9FB33305}" dt="2020-05-21T07:02:18.925" v="1363" actId="478"/>
          <ac:spMkLst>
            <pc:docMk/>
            <pc:sldMk cId="875568089" sldId="743"/>
            <ac:spMk id="20" creationId="{FDCBB4B0-D760-A540-B5D8-AC41F9901612}"/>
          </ac:spMkLst>
        </pc:spChg>
        <pc:spChg chg="add del mod">
          <ac:chgData name="Dina Zhanibekova" userId="7f5429faef2cd498" providerId="LiveId" clId="{12DFA05D-CFCB-0247-9D1B-E6FD9FB33305}" dt="2020-05-21T07:07:21.726" v="1441" actId="478"/>
          <ac:spMkLst>
            <pc:docMk/>
            <pc:sldMk cId="875568089" sldId="743"/>
            <ac:spMk id="21" creationId="{892599E4-2308-234B-9EC9-9D13090F3044}"/>
          </ac:spMkLst>
        </pc:spChg>
        <pc:spChg chg="mod">
          <ac:chgData name="Dina Zhanibekova" userId="7f5429faef2cd498" providerId="LiveId" clId="{12DFA05D-CFCB-0247-9D1B-E6FD9FB33305}" dt="2020-05-21T07:52:20.985" v="2086" actId="20577"/>
          <ac:spMkLst>
            <pc:docMk/>
            <pc:sldMk cId="875568089" sldId="743"/>
            <ac:spMk id="42" creationId="{00FCF874-9649-2642-AF84-D7BE365107B9}"/>
          </ac:spMkLst>
        </pc:spChg>
        <pc:spChg chg="mod">
          <ac:chgData name="Dina Zhanibekova" userId="7f5429faef2cd498" providerId="LiveId" clId="{12DFA05D-CFCB-0247-9D1B-E6FD9FB33305}" dt="2020-05-22T11:12:56.032" v="6384" actId="313"/>
          <ac:spMkLst>
            <pc:docMk/>
            <pc:sldMk cId="875568089" sldId="743"/>
            <ac:spMk id="43" creationId="{E9627646-A845-8045-965C-7C7D06F59554}"/>
          </ac:spMkLst>
        </pc:spChg>
        <pc:spChg chg="mod">
          <ac:chgData name="Dina Zhanibekova" userId="7f5429faef2cd498" providerId="LiveId" clId="{12DFA05D-CFCB-0247-9D1B-E6FD9FB33305}" dt="2020-05-21T06:57:28.941" v="1177" actId="108"/>
          <ac:spMkLst>
            <pc:docMk/>
            <pc:sldMk cId="875568089" sldId="743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2T05:00:53.565" v="2900"/>
          <ac:spMkLst>
            <pc:docMk/>
            <pc:sldMk cId="875568089" sldId="743"/>
            <ac:spMk id="125" creationId="{7530387D-2B9A-4D17-9FCE-3D220BBC3852}"/>
          </ac:spMkLst>
        </pc:spChg>
      </pc:sldChg>
      <pc:sldChg chg="add del">
        <pc:chgData name="Dina Zhanibekova" userId="7f5429faef2cd498" providerId="LiveId" clId="{12DFA05D-CFCB-0247-9D1B-E6FD9FB33305}" dt="2020-05-22T04:54:50.160" v="2841" actId="2696"/>
        <pc:sldMkLst>
          <pc:docMk/>
          <pc:sldMk cId="1212433798" sldId="744"/>
        </pc:sldMkLst>
      </pc:sldChg>
      <pc:sldChg chg="modSp add">
        <pc:chgData name="Dina Zhanibekova" userId="7f5429faef2cd498" providerId="LiveId" clId="{12DFA05D-CFCB-0247-9D1B-E6FD9FB33305}" dt="2020-05-22T11:11:55.947" v="6383" actId="20577"/>
        <pc:sldMkLst>
          <pc:docMk/>
          <pc:sldMk cId="587953027" sldId="745"/>
        </pc:sldMkLst>
        <pc:spChg chg="mod">
          <ac:chgData name="Dina Zhanibekova" userId="7f5429faef2cd498" providerId="LiveId" clId="{12DFA05D-CFCB-0247-9D1B-E6FD9FB33305}" dt="2020-05-22T11:11:55.947" v="6383" actId="20577"/>
          <ac:spMkLst>
            <pc:docMk/>
            <pc:sldMk cId="587953027" sldId="745"/>
            <ac:spMk id="125" creationId="{7530387D-2B9A-4D17-9FCE-3D220BBC3852}"/>
          </ac:spMkLst>
        </pc:spChg>
        <pc:spChg chg="mod">
          <ac:chgData name="Dina Zhanibekova" userId="7f5429faef2cd498" providerId="LiveId" clId="{12DFA05D-CFCB-0247-9D1B-E6FD9FB33305}" dt="2020-05-22T05:24:10.286" v="3301" actId="1076"/>
          <ac:spMkLst>
            <pc:docMk/>
            <pc:sldMk cId="587953027" sldId="745"/>
            <ac:spMk id="278" creationId="{6846D95D-ACE7-934B-93E4-C8775BC73DA7}"/>
          </ac:spMkLst>
        </pc:spChg>
        <pc:graphicFrameChg chg="mod modGraphic">
          <ac:chgData name="Dina Zhanibekova" userId="7f5429faef2cd498" providerId="LiveId" clId="{12DFA05D-CFCB-0247-9D1B-E6FD9FB33305}" dt="2020-05-22T11:11:15.374" v="6364" actId="20577"/>
          <ac:graphicFrameMkLst>
            <pc:docMk/>
            <pc:sldMk cId="587953027" sldId="745"/>
            <ac:graphicFrameMk id="99" creationId="{920A7F8F-C9E8-C64B-B12E-F7B0FD9A7B08}"/>
          </ac:graphicFrameMkLst>
        </pc:graphicFrameChg>
      </pc:sldChg>
      <pc:sldChg chg="modSp add del">
        <pc:chgData name="Dina Zhanibekova" userId="7f5429faef2cd498" providerId="LiveId" clId="{12DFA05D-CFCB-0247-9D1B-E6FD9FB33305}" dt="2020-05-22T04:59:54.144" v="2863" actId="2696"/>
        <pc:sldMkLst>
          <pc:docMk/>
          <pc:sldMk cId="1328719019" sldId="745"/>
        </pc:sldMkLst>
        <pc:spChg chg="mod">
          <ac:chgData name="Dina Zhanibekova" userId="7f5429faef2cd498" providerId="LiveId" clId="{12DFA05D-CFCB-0247-9D1B-E6FD9FB33305}" dt="2020-05-22T04:59:48.656" v="2862" actId="20577"/>
          <ac:spMkLst>
            <pc:docMk/>
            <pc:sldMk cId="1328719019" sldId="745"/>
            <ac:spMk id="278" creationId="{6846D95D-ACE7-934B-93E4-C8775BC73DA7}"/>
          </ac:spMkLst>
        </pc:spChg>
      </pc:sldChg>
      <pc:sldChg chg="add del">
        <pc:chgData name="Dina Zhanibekova" userId="7f5429faef2cd498" providerId="LiveId" clId="{12DFA05D-CFCB-0247-9D1B-E6FD9FB33305}" dt="2020-05-22T06:40:45.235" v="4017" actId="2696"/>
        <pc:sldMkLst>
          <pc:docMk/>
          <pc:sldMk cId="3802949587" sldId="1357"/>
        </pc:sldMkLst>
      </pc:sldChg>
      <pc:sldChg chg="delSp add del">
        <pc:chgData name="Dina Zhanibekova" userId="7f5429faef2cd498" providerId="LiveId" clId="{12DFA05D-CFCB-0247-9D1B-E6FD9FB33305}" dt="2020-05-22T06:12:33.049" v="3607" actId="2696"/>
        <pc:sldMkLst>
          <pc:docMk/>
          <pc:sldMk cId="2080134320" sldId="1359"/>
        </pc:sldMkLst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2" creationId="{948767A3-F458-43BD-A2EE-1E51C113C598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5" creationId="{EFD10A92-6EA0-453B-99BF-14513371BE11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8" creationId="{D457E3E0-AFD9-4B7E-94ED-EEA6B40D7F22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12" creationId="{4E96E335-DCEC-4682-951F-1EE4CDA108AE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17" creationId="{CA0B6D0C-B80E-469F-9FEF-60A8E3046665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18" creationId="{D1CF247B-EFFF-4E34-912A-96B4A8F7AEA8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19" creationId="{782C0657-72AE-4210-9FF6-EE7047AA4D09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24" creationId="{3976DD49-4A2A-46B0-822F-D0C1AA4658E4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26" creationId="{6DA63260-35C0-47FA-B4C6-7DED5EF0EE3D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31" creationId="{76C4AE24-99C8-4EF2-8FA1-48B09F82AF86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32" creationId="{A4B22DF0-B79E-47BE-9AAE-6C7D05FDBD7F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33" creationId="{B1011A1B-EBEB-4691-A499-63415B267124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34" creationId="{0CAEE7A8-F240-4B01-A5DE-85E3B280D1C5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36" creationId="{AA255DFA-9195-432B-B61C-2EF3C4FA112C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40" creationId="{AED03FCC-FAF8-4E5A-9057-EBCABD0E90F5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41" creationId="{BC39F901-D39C-49DB-89CB-794FA6C6B2CD}"/>
          </ac:spMkLst>
        </pc:spChg>
        <pc:spChg chg="del">
          <ac:chgData name="Dina Zhanibekova" userId="7f5429faef2cd498" providerId="LiveId" clId="{12DFA05D-CFCB-0247-9D1B-E6FD9FB33305}" dt="2020-05-22T06:12:24.303" v="3605"/>
          <ac:spMkLst>
            <pc:docMk/>
            <pc:sldMk cId="2080134320" sldId="1359"/>
            <ac:spMk id="43" creationId="{8222E86B-E094-4EA2-AB64-388AABBEC610}"/>
          </ac:spMkLst>
        </pc:sp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" creationId="{597E89A4-A8D8-4E0A-B6FE-4E7DA7991AE3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9" creationId="{2A22A921-310D-46D2-971C-F15F36BEB06F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10" creationId="{1B2F16D9-666F-47CF-AB6D-D77BE9549089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11" creationId="{5D5C0ED4-6A9F-4E49-B489-3833D267685F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2" creationId="{066C8A00-970C-4AD9-8FF6-FB9526286CDC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4" creationId="{3485CF2E-568C-4ABE-B121-1E02F434B3A5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5" creationId="{95EAFCD2-595C-474B-8755-5B7633CF8DDE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6" creationId="{74EDF104-D431-4319-9273-30AF8762B0A9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7" creationId="{D580E329-C696-43A9-BDCF-DC50B8034BE3}"/>
          </ac:cxnSpMkLst>
        </pc:cxnChg>
        <pc:cxnChg chg="del">
          <ac:chgData name="Dina Zhanibekova" userId="7f5429faef2cd498" providerId="LiveId" clId="{12DFA05D-CFCB-0247-9D1B-E6FD9FB33305}" dt="2020-05-22T06:12:24.303" v="3605"/>
          <ac:cxnSpMkLst>
            <pc:docMk/>
            <pc:sldMk cId="2080134320" sldId="1359"/>
            <ac:cxnSpMk id="48" creationId="{3A6178B5-861A-492E-AFA2-7415D1FAEDAF}"/>
          </ac:cxnSpMkLst>
        </pc:cxnChg>
      </pc:sldChg>
      <pc:sldChg chg="delSp add del modNotes">
        <pc:chgData name="Dina Zhanibekova" userId="7f5429faef2cd498" providerId="LiveId" clId="{12DFA05D-CFCB-0247-9D1B-E6FD9FB33305}" dt="2020-05-22T08:15:59.158" v="5079" actId="2696"/>
        <pc:sldMkLst>
          <pc:docMk/>
          <pc:sldMk cId="3994778600" sldId="1385"/>
        </pc:sldMkLst>
        <pc:spChg chg="del">
          <ac:chgData name="Dina Zhanibekova" userId="7f5429faef2cd498" providerId="LiveId" clId="{12DFA05D-CFCB-0247-9D1B-E6FD9FB33305}" dt="2020-05-22T06:38:41.404" v="4006" actId="478"/>
          <ac:spMkLst>
            <pc:docMk/>
            <pc:sldMk cId="3994778600" sldId="1385"/>
            <ac:spMk id="18" creationId="{FBBAB0F5-C0D4-4771-ABDF-BB96F64436C7}"/>
          </ac:spMkLst>
        </pc:spChg>
        <pc:grpChg chg="del">
          <ac:chgData name="Dina Zhanibekova" userId="7f5429faef2cd498" providerId="LiveId" clId="{12DFA05D-CFCB-0247-9D1B-E6FD9FB33305}" dt="2020-05-22T06:38:42.807" v="4007" actId="478"/>
          <ac:grpSpMkLst>
            <pc:docMk/>
            <pc:sldMk cId="3994778600" sldId="1385"/>
            <ac:grpSpMk id="15" creationId="{36664DC4-9CFA-4CDE-969C-ED18F26B2D6F}"/>
          </ac:grpSpMkLst>
        </pc:grpChg>
      </pc:sldChg>
      <pc:sldChg chg="add del">
        <pc:chgData name="Dina Zhanibekova" userId="7f5429faef2cd498" providerId="LiveId" clId="{12DFA05D-CFCB-0247-9D1B-E6FD9FB33305}" dt="2020-05-22T05:34:38.375" v="3418" actId="2696"/>
        <pc:sldMkLst>
          <pc:docMk/>
          <pc:sldMk cId="239285804" sldId="1395"/>
        </pc:sldMkLst>
      </pc:sldChg>
      <pc:sldChg chg="add del">
        <pc:chgData name="Dina Zhanibekova" userId="7f5429faef2cd498" providerId="LiveId" clId="{12DFA05D-CFCB-0247-9D1B-E6FD9FB33305}" dt="2020-05-22T05:34:04.559" v="3402" actId="2696"/>
        <pc:sldMkLst>
          <pc:docMk/>
          <pc:sldMk cId="2489465406" sldId="1396"/>
        </pc:sldMkLst>
      </pc:sldChg>
      <pc:sldChg chg="addSp delSp modSp add del">
        <pc:chgData name="Dina Zhanibekova" userId="7f5429faef2cd498" providerId="LiveId" clId="{12DFA05D-CFCB-0247-9D1B-E6FD9FB33305}" dt="2020-05-22T06:46:26.332" v="4113" actId="2696"/>
        <pc:sldMkLst>
          <pc:docMk/>
          <pc:sldMk cId="4023197489" sldId="1396"/>
        </pc:sldMkLst>
        <pc:spChg chg="del mod">
          <ac:chgData name="Dina Zhanibekova" userId="7f5429faef2cd498" providerId="LiveId" clId="{12DFA05D-CFCB-0247-9D1B-E6FD9FB33305}" dt="2020-05-22T06:32:56.276" v="3953" actId="478"/>
          <ac:spMkLst>
            <pc:docMk/>
            <pc:sldMk cId="4023197489" sldId="1396"/>
            <ac:spMk id="4" creationId="{2FC9A277-E6C8-4639-85F9-423804DA2B01}"/>
          </ac:spMkLst>
        </pc:spChg>
        <pc:spChg chg="add del mod">
          <ac:chgData name="Dina Zhanibekova" userId="7f5429faef2cd498" providerId="LiveId" clId="{12DFA05D-CFCB-0247-9D1B-E6FD9FB33305}" dt="2020-05-22T06:18:32.668" v="3746" actId="478"/>
          <ac:spMkLst>
            <pc:docMk/>
            <pc:sldMk cId="4023197489" sldId="1396"/>
            <ac:spMk id="20" creationId="{E08F23BD-67A9-A24B-9950-EDC7D77F469D}"/>
          </ac:spMkLst>
        </pc:spChg>
        <pc:spChg chg="add del mod">
          <ac:chgData name="Dina Zhanibekova" userId="7f5429faef2cd498" providerId="LiveId" clId="{12DFA05D-CFCB-0247-9D1B-E6FD9FB33305}" dt="2020-05-22T06:25:10.918" v="3811" actId="478"/>
          <ac:spMkLst>
            <pc:docMk/>
            <pc:sldMk cId="4023197489" sldId="1396"/>
            <ac:spMk id="21" creationId="{AA429F9D-C93B-6240-BE6E-C35C48705204}"/>
          </ac:spMkLst>
        </pc:spChg>
        <pc:spChg chg="add del mod">
          <ac:chgData name="Dina Zhanibekova" userId="7f5429faef2cd498" providerId="LiveId" clId="{12DFA05D-CFCB-0247-9D1B-E6FD9FB33305}" dt="2020-05-22T06:18:35.149" v="3747" actId="478"/>
          <ac:spMkLst>
            <pc:docMk/>
            <pc:sldMk cId="4023197489" sldId="1396"/>
            <ac:spMk id="22" creationId="{946F4B2D-8F89-DA49-BD7F-B8D7C5C9BEDC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23" creationId="{17DF1F85-1FDA-A045-84F2-588BE1477067}"/>
          </ac:spMkLst>
        </pc:spChg>
        <pc:spChg chg="add del mod">
          <ac:chgData name="Dina Zhanibekova" userId="7f5429faef2cd498" providerId="LiveId" clId="{12DFA05D-CFCB-0247-9D1B-E6FD9FB33305}" dt="2020-05-22T06:25:09.516" v="3810" actId="478"/>
          <ac:spMkLst>
            <pc:docMk/>
            <pc:sldMk cId="4023197489" sldId="1396"/>
            <ac:spMk id="24" creationId="{20738934-E86C-A047-8D01-7E6222178C76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25" creationId="{A02510E9-BFFB-1544-942D-CB9F8412AB72}"/>
          </ac:spMkLst>
        </pc:spChg>
        <pc:spChg chg="add del mod">
          <ac:chgData name="Dina Zhanibekova" userId="7f5429faef2cd498" providerId="LiveId" clId="{12DFA05D-CFCB-0247-9D1B-E6FD9FB33305}" dt="2020-05-22T06:25:13.332" v="3813" actId="478"/>
          <ac:spMkLst>
            <pc:docMk/>
            <pc:sldMk cId="4023197489" sldId="1396"/>
            <ac:spMk id="26" creationId="{D0C547D4-30A2-8841-92B3-F911B49DB2E1}"/>
          </ac:spMkLst>
        </pc:spChg>
        <pc:spChg chg="add del mod">
          <ac:chgData name="Dina Zhanibekova" userId="7f5429faef2cd498" providerId="LiveId" clId="{12DFA05D-CFCB-0247-9D1B-E6FD9FB33305}" dt="2020-05-22T06:25:14.706" v="3814" actId="478"/>
          <ac:spMkLst>
            <pc:docMk/>
            <pc:sldMk cId="4023197489" sldId="1396"/>
            <ac:spMk id="27" creationId="{7FDA1997-78E2-A549-92E5-B64CBD025EE6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28" creationId="{D56AD6C7-52DD-E64B-8936-0DB60BA8240C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29" creationId="{1BE03920-2590-1E45-B043-9984E1CDF529}"/>
          </ac:spMkLst>
        </pc:spChg>
        <pc:spChg chg="add mod">
          <ac:chgData name="Dina Zhanibekova" userId="7f5429faef2cd498" providerId="LiveId" clId="{12DFA05D-CFCB-0247-9D1B-E6FD9FB33305}" dt="2020-05-22T06:33:11.121" v="3957" actId="1076"/>
          <ac:spMkLst>
            <pc:docMk/>
            <pc:sldMk cId="4023197489" sldId="1396"/>
            <ac:spMk id="30" creationId="{6DF866B0-F462-3E4A-9CAC-E7D6FDDEB4F5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31" creationId="{14B8E42F-3D79-5F4A-8EE6-65C04639F0B8}"/>
          </ac:spMkLst>
        </pc:spChg>
        <pc:spChg chg="add del mod">
          <ac:chgData name="Dina Zhanibekova" userId="7f5429faef2cd498" providerId="LiveId" clId="{12DFA05D-CFCB-0247-9D1B-E6FD9FB33305}" dt="2020-05-22T06:27:43.348" v="3851" actId="478"/>
          <ac:spMkLst>
            <pc:docMk/>
            <pc:sldMk cId="4023197489" sldId="1396"/>
            <ac:spMk id="32" creationId="{9F1C739A-CC43-2F46-BE7C-7616D785C96E}"/>
          </ac:spMkLst>
        </pc:spChg>
        <pc:spChg chg="add del mod">
          <ac:chgData name="Dina Zhanibekova" userId="7f5429faef2cd498" providerId="LiveId" clId="{12DFA05D-CFCB-0247-9D1B-E6FD9FB33305}" dt="2020-05-22T06:25:18.723" v="3816" actId="478"/>
          <ac:spMkLst>
            <pc:docMk/>
            <pc:sldMk cId="4023197489" sldId="1396"/>
            <ac:spMk id="33" creationId="{E98F3965-0E18-7D4D-B01C-16803F8F0D30}"/>
          </ac:spMkLst>
        </pc:spChg>
        <pc:spChg chg="add del mod">
          <ac:chgData name="Dina Zhanibekova" userId="7f5429faef2cd498" providerId="LiveId" clId="{12DFA05D-CFCB-0247-9D1B-E6FD9FB33305}" dt="2020-05-22T06:25:01.433" v="3807" actId="478"/>
          <ac:spMkLst>
            <pc:docMk/>
            <pc:sldMk cId="4023197489" sldId="1396"/>
            <ac:spMk id="35" creationId="{3737ED31-BEBD-B943-AC18-A9A6ABAF1175}"/>
          </ac:spMkLst>
        </pc:spChg>
        <pc:spChg chg="add del mod">
          <ac:chgData name="Dina Zhanibekova" userId="7f5429faef2cd498" providerId="LiveId" clId="{12DFA05D-CFCB-0247-9D1B-E6FD9FB33305}" dt="2020-05-22T06:25:02.797" v="3808" actId="478"/>
          <ac:spMkLst>
            <pc:docMk/>
            <pc:sldMk cId="4023197489" sldId="1396"/>
            <ac:spMk id="36" creationId="{B6AD7AF7-E430-7949-976C-9ADE79988D89}"/>
          </ac:spMkLst>
        </pc:spChg>
        <pc:spChg chg="add del mod">
          <ac:chgData name="Dina Zhanibekova" userId="7f5429faef2cd498" providerId="LiveId" clId="{12DFA05D-CFCB-0247-9D1B-E6FD9FB33305}" dt="2020-05-22T06:32:54.532" v="3952" actId="478"/>
          <ac:spMkLst>
            <pc:docMk/>
            <pc:sldMk cId="4023197489" sldId="1396"/>
            <ac:spMk id="37" creationId="{59694671-B238-DA42-A0AC-31AE268E3900}"/>
          </ac:spMkLst>
        </pc:spChg>
        <pc:spChg chg="del">
          <ac:chgData name="Dina Zhanibekova" userId="7f5429faef2cd498" providerId="LiveId" clId="{12DFA05D-CFCB-0247-9D1B-E6FD9FB33305}" dt="2020-05-22T05:34:24.080" v="3416" actId="478"/>
          <ac:spMkLst>
            <pc:docMk/>
            <pc:sldMk cId="4023197489" sldId="1396"/>
            <ac:spMk id="42" creationId="{00FCF874-9649-2642-AF84-D7BE365107B9}"/>
          </ac:spMkLst>
        </pc:spChg>
        <pc:spChg chg="del">
          <ac:chgData name="Dina Zhanibekova" userId="7f5429faef2cd498" providerId="LiveId" clId="{12DFA05D-CFCB-0247-9D1B-E6FD9FB33305}" dt="2020-05-22T05:34:24.080" v="3416" actId="478"/>
          <ac:spMkLst>
            <pc:docMk/>
            <pc:sldMk cId="4023197489" sldId="1396"/>
            <ac:spMk id="43" creationId="{E9627646-A845-8045-965C-7C7D06F59554}"/>
          </ac:spMkLst>
        </pc:spChg>
        <pc:spChg chg="del">
          <ac:chgData name="Dina Zhanibekova" userId="7f5429faef2cd498" providerId="LiveId" clId="{12DFA05D-CFCB-0247-9D1B-E6FD9FB33305}" dt="2020-05-22T05:34:24.080" v="3416" actId="478"/>
          <ac:spMkLst>
            <pc:docMk/>
            <pc:sldMk cId="4023197489" sldId="1396"/>
            <ac:spMk id="44" creationId="{D3828FB2-09F7-8C4E-8629-3AE9ADE20B73}"/>
          </ac:spMkLst>
        </pc:spChg>
        <pc:spChg chg="del">
          <ac:chgData name="Dina Zhanibekova" userId="7f5429faef2cd498" providerId="LiveId" clId="{12DFA05D-CFCB-0247-9D1B-E6FD9FB33305}" dt="2020-05-22T05:34:24.080" v="3416" actId="478"/>
          <ac:spMkLst>
            <pc:docMk/>
            <pc:sldMk cId="4023197489" sldId="1396"/>
            <ac:spMk id="45" creationId="{5BE7FA0A-242B-3041-A383-236E3573687F}"/>
          </ac:spMkLst>
        </pc:spChg>
        <pc:spChg chg="mod">
          <ac:chgData name="Dina Zhanibekova" userId="7f5429faef2cd498" providerId="LiveId" clId="{12DFA05D-CFCB-0247-9D1B-E6FD9FB33305}" dt="2020-05-22T06:25:35.281" v="3827" actId="20577"/>
          <ac:spMkLst>
            <pc:docMk/>
            <pc:sldMk cId="4023197489" sldId="1396"/>
            <ac:spMk id="48" creationId="{2A924633-D274-EE4E-A3CD-F51B7E83ADAB}"/>
          </ac:spMkLst>
        </pc:spChg>
        <pc:spChg chg="add mod">
          <ac:chgData name="Dina Zhanibekova" userId="7f5429faef2cd498" providerId="LiveId" clId="{12DFA05D-CFCB-0247-9D1B-E6FD9FB33305}" dt="2020-05-22T06:28:08.100" v="3854"/>
          <ac:spMkLst>
            <pc:docMk/>
            <pc:sldMk cId="4023197489" sldId="1396"/>
            <ac:spMk id="56" creationId="{BCB30EAB-6497-E941-83C1-A912D200EB49}"/>
          </ac:spMkLst>
        </pc:spChg>
        <pc:spChg chg="add del mod">
          <ac:chgData name="Dina Zhanibekova" userId="7f5429faef2cd498" providerId="LiveId" clId="{12DFA05D-CFCB-0247-9D1B-E6FD9FB33305}" dt="2020-05-22T06:33:01.704" v="3954" actId="478"/>
          <ac:spMkLst>
            <pc:docMk/>
            <pc:sldMk cId="4023197489" sldId="1396"/>
            <ac:spMk id="57" creationId="{539F6D3D-8F2E-BF4F-A40B-B19E1C1BBC79}"/>
          </ac:spMkLst>
        </pc:spChg>
        <pc:spChg chg="add del mod">
          <ac:chgData name="Dina Zhanibekova" userId="7f5429faef2cd498" providerId="LiveId" clId="{12DFA05D-CFCB-0247-9D1B-E6FD9FB33305}" dt="2020-05-22T06:32:47.076" v="3948" actId="478"/>
          <ac:spMkLst>
            <pc:docMk/>
            <pc:sldMk cId="4023197489" sldId="1396"/>
            <ac:spMk id="58" creationId="{108CF934-AF48-FB4B-881D-870A389A51F0}"/>
          </ac:spMkLst>
        </pc:spChg>
        <pc:spChg chg="add del mod">
          <ac:chgData name="Dina Zhanibekova" userId="7f5429faef2cd498" providerId="LiveId" clId="{12DFA05D-CFCB-0247-9D1B-E6FD9FB33305}" dt="2020-05-22T06:32:48.800" v="3949" actId="478"/>
          <ac:spMkLst>
            <pc:docMk/>
            <pc:sldMk cId="4023197489" sldId="1396"/>
            <ac:spMk id="59" creationId="{2D02E640-D381-184A-B7FB-2288F2E9B6D2}"/>
          </ac:spMkLst>
        </pc:spChg>
        <pc:spChg chg="add del mod">
          <ac:chgData name="Dina Zhanibekova" userId="7f5429faef2cd498" providerId="LiveId" clId="{12DFA05D-CFCB-0247-9D1B-E6FD9FB33305}" dt="2020-05-22T06:32:50.186" v="3950" actId="478"/>
          <ac:spMkLst>
            <pc:docMk/>
            <pc:sldMk cId="4023197489" sldId="1396"/>
            <ac:spMk id="60" creationId="{38DDFD8E-B561-3044-88C3-B9E65537F48A}"/>
          </ac:spMkLst>
        </pc:spChg>
        <pc:spChg chg="add del mod">
          <ac:chgData name="Dina Zhanibekova" userId="7f5429faef2cd498" providerId="LiveId" clId="{12DFA05D-CFCB-0247-9D1B-E6FD9FB33305}" dt="2020-05-22T06:32:52.032" v="3951" actId="478"/>
          <ac:spMkLst>
            <pc:docMk/>
            <pc:sldMk cId="4023197489" sldId="1396"/>
            <ac:spMk id="61" creationId="{36746544-B7A4-A746-9C28-C6CCB16660A6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64" creationId="{E1EE0DBD-3052-3441-8C77-BF73EDFBF589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66" creationId="{54259358-9CC7-F243-B9CA-0F57D8FB17A0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67" creationId="{EAED3D7F-8CC5-224E-A2CE-2283A5DE7B69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68" creationId="{869D496D-ECFC-7640-9BFB-F156C57F0B76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69" creationId="{85AF9423-8F54-A548-8EA6-3F80510B0E29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1" creationId="{3A775842-50A3-8D40-9490-F43795000D39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2" creationId="{B659BBAD-4ECC-304C-9515-479A288E6353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4" creationId="{90EA41E9-4484-7548-80CF-92098DF22CFC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5" creationId="{97B84549-A0AD-7645-8E72-FB5EA0544C20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6" creationId="{2A270A9A-145F-6542-A667-E6507497D9DE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7" creationId="{90FE8C3B-F3A4-2144-B13B-5E64E95211CF}"/>
          </ac:spMkLst>
        </pc:spChg>
        <pc:spChg chg="add del mod">
          <ac:chgData name="Dina Zhanibekova" userId="7f5429faef2cd498" providerId="LiveId" clId="{12DFA05D-CFCB-0247-9D1B-E6FD9FB33305}" dt="2020-05-22T06:40:31.013" v="4014"/>
          <ac:spMkLst>
            <pc:docMk/>
            <pc:sldMk cId="4023197489" sldId="1396"/>
            <ac:spMk id="79" creationId="{C5ADF075-0CC3-D24F-95FD-E765D20CA8CF}"/>
          </ac:spMkLst>
        </pc:spChg>
        <pc:grpChg chg="del">
          <ac:chgData name="Dina Zhanibekova" userId="7f5429faef2cd498" providerId="LiveId" clId="{12DFA05D-CFCB-0247-9D1B-E6FD9FB33305}" dt="2020-05-22T05:34:24.080" v="3416" actId="478"/>
          <ac:grpSpMkLst>
            <pc:docMk/>
            <pc:sldMk cId="4023197489" sldId="1396"/>
            <ac:grpSpMk id="46" creationId="{057ECEED-146A-7F47-BEBC-8BA118BADC47}"/>
          </ac:grpSpMkLst>
        </pc:grpChg>
        <pc:grpChg chg="del">
          <ac:chgData name="Dina Zhanibekova" userId="7f5429faef2cd498" providerId="LiveId" clId="{12DFA05D-CFCB-0247-9D1B-E6FD9FB33305}" dt="2020-05-22T05:34:24.080" v="3416" actId="478"/>
          <ac:grpSpMkLst>
            <pc:docMk/>
            <pc:sldMk cId="4023197489" sldId="1396"/>
            <ac:grpSpMk id="51" creationId="{75C43572-365E-E64F-B856-E8202E860B61}"/>
          </ac:grpSpMkLst>
        </pc:grpChg>
        <pc:graphicFrameChg chg="add mod">
          <ac:chgData name="Dina Zhanibekova" userId="7f5429faef2cd498" providerId="LiveId" clId="{12DFA05D-CFCB-0247-9D1B-E6FD9FB33305}" dt="2020-05-22T06:34:51.381" v="3967"/>
          <ac:graphicFrameMkLst>
            <pc:docMk/>
            <pc:sldMk cId="4023197489" sldId="1396"/>
            <ac:graphicFrameMk id="38" creationId="{2C86C78F-7BE0-FC4A-B9D6-C74B9D922E20}"/>
          </ac:graphicFrameMkLst>
        </pc:graphicFrameChg>
        <pc:cxnChg chg="add del mod">
          <ac:chgData name="Dina Zhanibekova" userId="7f5429faef2cd498" providerId="LiveId" clId="{12DFA05D-CFCB-0247-9D1B-E6FD9FB33305}" dt="2020-05-22T06:25:03.638" v="3809" actId="478"/>
          <ac:cxnSpMkLst>
            <pc:docMk/>
            <pc:sldMk cId="4023197489" sldId="1396"/>
            <ac:cxnSpMk id="34" creationId="{4A2AB405-D175-E543-9752-14E9FE67E32A}"/>
          </ac:cxnSpMkLst>
        </pc:cxnChg>
        <pc:cxnChg chg="add mod">
          <ac:chgData name="Dina Zhanibekova" userId="7f5429faef2cd498" providerId="LiveId" clId="{12DFA05D-CFCB-0247-9D1B-E6FD9FB33305}" dt="2020-05-22T06:33:05.650" v="3955" actId="1076"/>
          <ac:cxnSpMkLst>
            <pc:docMk/>
            <pc:sldMk cId="4023197489" sldId="1396"/>
            <ac:cxnSpMk id="39" creationId="{BDA55D8F-DE0C-F341-9039-7825CBF5FDE8}"/>
          </ac:cxnSpMkLst>
        </pc:cxnChg>
        <pc:cxnChg chg="add del mod">
          <ac:chgData name="Dina Zhanibekova" userId="7f5429faef2cd498" providerId="LiveId" clId="{12DFA05D-CFCB-0247-9D1B-E6FD9FB33305}" dt="2020-05-22T06:40:31.013" v="4014"/>
          <ac:cxnSpMkLst>
            <pc:docMk/>
            <pc:sldMk cId="4023197489" sldId="1396"/>
            <ac:cxnSpMk id="62" creationId="{3DC497C1-7A59-DE4F-9B4D-B2315A0CD09A}"/>
          </ac:cxnSpMkLst>
        </pc:cxnChg>
        <pc:cxnChg chg="add del mod">
          <ac:chgData name="Dina Zhanibekova" userId="7f5429faef2cd498" providerId="LiveId" clId="{12DFA05D-CFCB-0247-9D1B-E6FD9FB33305}" dt="2020-05-22T06:40:31.013" v="4014"/>
          <ac:cxnSpMkLst>
            <pc:docMk/>
            <pc:sldMk cId="4023197489" sldId="1396"/>
            <ac:cxnSpMk id="65" creationId="{95DC024E-D9F8-8A43-9786-E43A5E7E7372}"/>
          </ac:cxnSpMkLst>
        </pc:cxnChg>
        <pc:cxnChg chg="add del mod">
          <ac:chgData name="Dina Zhanibekova" userId="7f5429faef2cd498" providerId="LiveId" clId="{12DFA05D-CFCB-0247-9D1B-E6FD9FB33305}" dt="2020-05-22T06:40:31.013" v="4014"/>
          <ac:cxnSpMkLst>
            <pc:docMk/>
            <pc:sldMk cId="4023197489" sldId="1396"/>
            <ac:cxnSpMk id="70" creationId="{05FCAFB0-5F9C-7C49-A683-E3CAEA68B18C}"/>
          </ac:cxnSpMkLst>
        </pc:cxnChg>
        <pc:cxnChg chg="add del mod">
          <ac:chgData name="Dina Zhanibekova" userId="7f5429faef2cd498" providerId="LiveId" clId="{12DFA05D-CFCB-0247-9D1B-E6FD9FB33305}" dt="2020-05-22T06:40:31.013" v="4014"/>
          <ac:cxnSpMkLst>
            <pc:docMk/>
            <pc:sldMk cId="4023197489" sldId="1396"/>
            <ac:cxnSpMk id="73" creationId="{8E4F7443-A0FA-A84A-9ECC-2F9F0618D2F9}"/>
          </ac:cxnSpMkLst>
        </pc:cxnChg>
        <pc:cxnChg chg="add del mod">
          <ac:chgData name="Dina Zhanibekova" userId="7f5429faef2cd498" providerId="LiveId" clId="{12DFA05D-CFCB-0247-9D1B-E6FD9FB33305}" dt="2020-05-22T06:40:31.013" v="4014"/>
          <ac:cxnSpMkLst>
            <pc:docMk/>
            <pc:sldMk cId="4023197489" sldId="1396"/>
            <ac:cxnSpMk id="78" creationId="{9C3F396F-09BE-B44E-85FA-0D817A74C6BA}"/>
          </ac:cxnSpMkLst>
        </pc:cxnChg>
        <pc:cxnChg chg="mod">
          <ac:chgData name="Dina Zhanibekova" userId="7f5429faef2cd498" providerId="LiveId" clId="{12DFA05D-CFCB-0247-9D1B-E6FD9FB33305}" dt="2020-05-22T06:27:59.665" v="3853" actId="1076"/>
          <ac:cxnSpMkLst>
            <pc:docMk/>
            <pc:sldMk cId="4023197489" sldId="1396"/>
            <ac:cxnSpMk id="245" creationId="{B23D0E6F-94EB-B141-858C-EDCF253E93F3}"/>
          </ac:cxnSpMkLst>
        </pc:cxnChg>
      </pc:sldChg>
      <pc:sldChg chg="addSp delSp modSp add del">
        <pc:chgData name="Dina Zhanibekova" userId="7f5429faef2cd498" providerId="LiveId" clId="{12DFA05D-CFCB-0247-9D1B-E6FD9FB33305}" dt="2020-05-22T06:25:58.550" v="3839" actId="2696"/>
        <pc:sldMkLst>
          <pc:docMk/>
          <pc:sldMk cId="659579534" sldId="1397"/>
        </pc:sldMkLst>
        <pc:spChg chg="add mod">
          <ac:chgData name="Dina Zhanibekova" userId="7f5429faef2cd498" providerId="LiveId" clId="{12DFA05D-CFCB-0247-9D1B-E6FD9FB33305}" dt="2020-05-22T06:14:52.733" v="3655" actId="1076"/>
          <ac:spMkLst>
            <pc:docMk/>
            <pc:sldMk cId="659579534" sldId="1397"/>
            <ac:spMk id="21" creationId="{0B42F54A-82F2-4B4E-BA43-E111B92CDE86}"/>
          </ac:spMkLst>
        </pc:spChg>
        <pc:spChg chg="add del mod">
          <ac:chgData name="Dina Zhanibekova" userId="7f5429faef2cd498" providerId="LiveId" clId="{12DFA05D-CFCB-0247-9D1B-E6FD9FB33305}" dt="2020-05-22T06:15:38.586" v="3657" actId="478"/>
          <ac:spMkLst>
            <pc:docMk/>
            <pc:sldMk cId="659579534" sldId="1397"/>
            <ac:spMk id="22" creationId="{56ECDF63-5505-5644-A1D7-77E6D0745F9A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26" creationId="{DCFFD52F-95A8-E94A-8504-958A90A97EBF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27" creationId="{23519DD8-33D7-324D-97CE-195AE3064965}"/>
          </ac:spMkLst>
        </pc:spChg>
        <pc:spChg chg="add del mod">
          <ac:chgData name="Dina Zhanibekova" userId="7f5429faef2cd498" providerId="LiveId" clId="{12DFA05D-CFCB-0247-9D1B-E6FD9FB33305}" dt="2020-05-22T06:15:36.917" v="3656" actId="478"/>
          <ac:spMkLst>
            <pc:docMk/>
            <pc:sldMk cId="659579534" sldId="1397"/>
            <ac:spMk id="28" creationId="{8F0652A0-C493-9343-B83E-9B9AAFCD5BD4}"/>
          </ac:spMkLst>
        </pc:spChg>
        <pc:spChg chg="add mod">
          <ac:chgData name="Dina Zhanibekova" userId="7f5429faef2cd498" providerId="LiveId" clId="{12DFA05D-CFCB-0247-9D1B-E6FD9FB33305}" dt="2020-05-22T06:15:42.835" v="3658" actId="1076"/>
          <ac:spMkLst>
            <pc:docMk/>
            <pc:sldMk cId="659579534" sldId="1397"/>
            <ac:spMk id="29" creationId="{2BB1E1B3-FC58-904E-9A42-5BD3B75E3141}"/>
          </ac:spMkLst>
        </pc:spChg>
        <pc:spChg chg="add mod">
          <ac:chgData name="Dina Zhanibekova" userId="7f5429faef2cd498" providerId="LiveId" clId="{12DFA05D-CFCB-0247-9D1B-E6FD9FB33305}" dt="2020-05-22T06:18:12.717" v="3744" actId="14100"/>
          <ac:spMkLst>
            <pc:docMk/>
            <pc:sldMk cId="659579534" sldId="1397"/>
            <ac:spMk id="30" creationId="{2854BB17-ACAC-3C42-B11C-C0AC0D8AD427}"/>
          </ac:spMkLst>
        </pc:spChg>
        <pc:spChg chg="add mod">
          <ac:chgData name="Dina Zhanibekova" userId="7f5429faef2cd498" providerId="LiveId" clId="{12DFA05D-CFCB-0247-9D1B-E6FD9FB33305}" dt="2020-05-22T06:14:10.496" v="3639"/>
          <ac:spMkLst>
            <pc:docMk/>
            <pc:sldMk cId="659579534" sldId="1397"/>
            <ac:spMk id="31" creationId="{DB70339B-EFF0-E94C-9761-72C3F9C2C802}"/>
          </ac:spMkLst>
        </pc:spChg>
        <pc:spChg chg="add mod">
          <ac:chgData name="Dina Zhanibekova" userId="7f5429faef2cd498" providerId="LiveId" clId="{12DFA05D-CFCB-0247-9D1B-E6FD9FB33305}" dt="2020-05-22T06:16:08.774" v="3699" actId="1037"/>
          <ac:spMkLst>
            <pc:docMk/>
            <pc:sldMk cId="659579534" sldId="1397"/>
            <ac:spMk id="32" creationId="{B33B1763-AA0C-8448-B479-3FC18732B6E3}"/>
          </ac:spMkLst>
        </pc:spChg>
        <pc:spChg chg="add mod">
          <ac:chgData name="Dina Zhanibekova" userId="7f5429faef2cd498" providerId="LiveId" clId="{12DFA05D-CFCB-0247-9D1B-E6FD9FB33305}" dt="2020-05-22T06:16:08.774" v="3699" actId="1037"/>
          <ac:spMkLst>
            <pc:docMk/>
            <pc:sldMk cId="659579534" sldId="1397"/>
            <ac:spMk id="33" creationId="{60A63C8E-1C02-654B-9826-4DECAA38F5F2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4" creationId="{6AAD5BB6-C5AC-6946-A52C-5638A4CE12DB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5" creationId="{A9A64087-EC65-B840-8E24-CD34947C3912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6" creationId="{4579814B-1C28-5D44-B32B-9E13644F553B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7" creationId="{97889BA8-F548-AF47-AEBE-A381B156901D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8" creationId="{F878918D-3820-7740-94A2-48F135328722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39" creationId="{8237C20F-0BFB-D449-B684-CD1103A452D8}"/>
          </ac:spMkLst>
        </pc:spChg>
        <pc:spChg chg="add mod">
          <ac:chgData name="Dina Zhanibekova" userId="7f5429faef2cd498" providerId="LiveId" clId="{12DFA05D-CFCB-0247-9D1B-E6FD9FB33305}" dt="2020-05-22T06:13:41.268" v="3636" actId="1035"/>
          <ac:spMkLst>
            <pc:docMk/>
            <pc:sldMk cId="659579534" sldId="1397"/>
            <ac:spMk id="41" creationId="{BAAEC8A0-C530-2E40-A897-482244D336FD}"/>
          </ac:spMkLst>
        </pc:spChg>
        <pc:spChg chg="del">
          <ac:chgData name="Dina Zhanibekova" userId="7f5429faef2cd498" providerId="LiveId" clId="{12DFA05D-CFCB-0247-9D1B-E6FD9FB33305}" dt="2020-05-22T06:12:16.425" v="3604" actId="478"/>
          <ac:spMkLst>
            <pc:docMk/>
            <pc:sldMk cId="659579534" sldId="1397"/>
            <ac:spMk id="42" creationId="{00FCF874-9649-2642-AF84-D7BE365107B9}"/>
          </ac:spMkLst>
        </pc:spChg>
        <pc:spChg chg="del">
          <ac:chgData name="Dina Zhanibekova" userId="7f5429faef2cd498" providerId="LiveId" clId="{12DFA05D-CFCB-0247-9D1B-E6FD9FB33305}" dt="2020-05-22T06:12:16.425" v="3604" actId="478"/>
          <ac:spMkLst>
            <pc:docMk/>
            <pc:sldMk cId="659579534" sldId="1397"/>
            <ac:spMk id="43" creationId="{E9627646-A845-8045-965C-7C7D06F59554}"/>
          </ac:spMkLst>
        </pc:spChg>
        <pc:spChg chg="del">
          <ac:chgData name="Dina Zhanibekova" userId="7f5429faef2cd498" providerId="LiveId" clId="{12DFA05D-CFCB-0247-9D1B-E6FD9FB33305}" dt="2020-05-22T06:12:16.425" v="3604" actId="478"/>
          <ac:spMkLst>
            <pc:docMk/>
            <pc:sldMk cId="659579534" sldId="1397"/>
            <ac:spMk id="44" creationId="{D3828FB2-09F7-8C4E-8629-3AE9ADE20B73}"/>
          </ac:spMkLst>
        </pc:spChg>
        <pc:spChg chg="del">
          <ac:chgData name="Dina Zhanibekova" userId="7f5429faef2cd498" providerId="LiveId" clId="{12DFA05D-CFCB-0247-9D1B-E6FD9FB33305}" dt="2020-05-22T06:12:16.425" v="3604" actId="478"/>
          <ac:spMkLst>
            <pc:docMk/>
            <pc:sldMk cId="659579534" sldId="1397"/>
            <ac:spMk id="45" creationId="{5BE7FA0A-242B-3041-A383-236E3573687F}"/>
          </ac:spMkLst>
        </pc:spChg>
        <pc:spChg chg="del">
          <ac:chgData name="Dina Zhanibekova" userId="7f5429faef2cd498" providerId="LiveId" clId="{12DFA05D-CFCB-0247-9D1B-E6FD9FB33305}" dt="2020-05-22T06:13:12.860" v="3608" actId="478"/>
          <ac:spMkLst>
            <pc:docMk/>
            <pc:sldMk cId="659579534" sldId="1397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2T06:14:11.950" v="3640" actId="1076"/>
          <ac:spMkLst>
            <pc:docMk/>
            <pc:sldMk cId="659579534" sldId="1397"/>
            <ac:spMk id="55" creationId="{98BAD621-D9CD-994B-8C03-CB7EC4EC9FA2}"/>
          </ac:spMkLst>
        </pc:spChg>
        <pc:grpChg chg="del">
          <ac:chgData name="Dina Zhanibekova" userId="7f5429faef2cd498" providerId="LiveId" clId="{12DFA05D-CFCB-0247-9D1B-E6FD9FB33305}" dt="2020-05-22T06:12:16.425" v="3604" actId="478"/>
          <ac:grpSpMkLst>
            <pc:docMk/>
            <pc:sldMk cId="659579534" sldId="1397"/>
            <ac:grpSpMk id="46" creationId="{057ECEED-146A-7F47-BEBC-8BA118BADC47}"/>
          </ac:grpSpMkLst>
        </pc:grpChg>
        <pc:grpChg chg="del">
          <ac:chgData name="Dina Zhanibekova" userId="7f5429faef2cd498" providerId="LiveId" clId="{12DFA05D-CFCB-0247-9D1B-E6FD9FB33305}" dt="2020-05-22T06:12:16.425" v="3604" actId="478"/>
          <ac:grpSpMkLst>
            <pc:docMk/>
            <pc:sldMk cId="659579534" sldId="1397"/>
            <ac:grpSpMk id="51" creationId="{75C43572-365E-E64F-B856-E8202E860B61}"/>
          </ac:grpSpMkLst>
        </pc:grpChg>
        <pc:cxnChg chg="add del mod">
          <ac:chgData name="Dina Zhanibekova" userId="7f5429faef2cd498" providerId="LiveId" clId="{12DFA05D-CFCB-0247-9D1B-E6FD9FB33305}" dt="2020-05-22T06:13:34.157" v="3614" actId="478"/>
          <ac:cxnSpMkLst>
            <pc:docMk/>
            <pc:sldMk cId="659579534" sldId="1397"/>
            <ac:cxnSpMk id="20" creationId="{2B74BAEE-A8DE-584D-BD4B-A0166F4F26F7}"/>
          </ac:cxnSpMkLst>
        </pc:cxnChg>
        <pc:cxnChg chg="add mod">
          <ac:chgData name="Dina Zhanibekova" userId="7f5429faef2cd498" providerId="LiveId" clId="{12DFA05D-CFCB-0247-9D1B-E6FD9FB33305}" dt="2020-05-22T06:15:56.891" v="3660" actId="1076"/>
          <ac:cxnSpMkLst>
            <pc:docMk/>
            <pc:sldMk cId="659579534" sldId="1397"/>
            <ac:cxnSpMk id="23" creationId="{840B7B0D-BB69-DC45-8D13-F7978D02FD7E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24" creationId="{EE6EBD6C-C177-6146-9FA9-6B9FF82A6CC9}"/>
          </ac:cxnSpMkLst>
        </pc:cxnChg>
        <pc:cxnChg chg="add mod">
          <ac:chgData name="Dina Zhanibekova" userId="7f5429faef2cd498" providerId="LiveId" clId="{12DFA05D-CFCB-0247-9D1B-E6FD9FB33305}" dt="2020-05-22T06:16:20.746" v="3741" actId="1037"/>
          <ac:cxnSpMkLst>
            <pc:docMk/>
            <pc:sldMk cId="659579534" sldId="1397"/>
            <ac:cxnSpMk id="25" creationId="{A82DEC2E-469A-A642-8174-49D4909419C0}"/>
          </ac:cxnSpMkLst>
        </pc:cxnChg>
        <pc:cxnChg chg="add mod">
          <ac:chgData name="Dina Zhanibekova" userId="7f5429faef2cd498" providerId="LiveId" clId="{12DFA05D-CFCB-0247-9D1B-E6FD9FB33305}" dt="2020-05-22T06:16:20.746" v="3741" actId="1037"/>
          <ac:cxnSpMkLst>
            <pc:docMk/>
            <pc:sldMk cId="659579534" sldId="1397"/>
            <ac:cxnSpMk id="40" creationId="{DD8C5EA7-EC4B-0347-9562-A618CDC3E10E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56" creationId="{1DED6001-4521-9643-AB74-B2C7B8C843DA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57" creationId="{63318292-9EFB-A14D-8D3B-C4319842C644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58" creationId="{19B5FB6A-AFAD-6140-887C-3FC57C841BC7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59" creationId="{4AD7B8CA-CD4A-9C49-9505-3D4AC122E3D3}"/>
          </ac:cxnSpMkLst>
        </pc:cxnChg>
        <pc:cxnChg chg="add mod">
          <ac:chgData name="Dina Zhanibekova" userId="7f5429faef2cd498" providerId="LiveId" clId="{12DFA05D-CFCB-0247-9D1B-E6FD9FB33305}" dt="2020-05-22T06:13:41.268" v="3636" actId="1035"/>
          <ac:cxnSpMkLst>
            <pc:docMk/>
            <pc:sldMk cId="659579534" sldId="1397"/>
            <ac:cxnSpMk id="60" creationId="{99431770-23B4-FD4A-A5BA-8EFAA0C6D93B}"/>
          </ac:cxnSpMkLst>
        </pc:cxnChg>
      </pc:sldChg>
      <pc:sldChg chg="addSp delSp modSp add del">
        <pc:chgData name="Dina Zhanibekova" userId="7f5429faef2cd498" providerId="LiveId" clId="{12DFA05D-CFCB-0247-9D1B-E6FD9FB33305}" dt="2020-05-22T10:11:49.594" v="5742" actId="2696"/>
        <pc:sldMkLst>
          <pc:docMk/>
          <pc:sldMk cId="2866558915" sldId="1397"/>
        </pc:sldMkLst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6" creationId="{90C2E6A8-83FE-6F4C-93A0-4FBD29F371E5}"/>
          </ac:spMkLst>
        </pc:spChg>
        <pc:spChg chg="add del mod">
          <ac:chgData name="Dina Zhanibekova" userId="7f5429faef2cd498" providerId="LiveId" clId="{12DFA05D-CFCB-0247-9D1B-E6FD9FB33305}" dt="2020-05-22T09:00:49.974" v="5326" actId="478"/>
          <ac:spMkLst>
            <pc:docMk/>
            <pc:sldMk cId="2866558915" sldId="1397"/>
            <ac:spMk id="23" creationId="{FC337228-1D9A-E842-872E-EABF80264121}"/>
          </ac:spMkLst>
        </pc:spChg>
        <pc:spChg chg="add mod">
          <ac:chgData name="Dina Zhanibekova" userId="7f5429faef2cd498" providerId="LiveId" clId="{12DFA05D-CFCB-0247-9D1B-E6FD9FB33305}" dt="2020-05-22T09:09:11.045" v="5722" actId="20577"/>
          <ac:spMkLst>
            <pc:docMk/>
            <pc:sldMk cId="2866558915" sldId="1397"/>
            <ac:spMk id="24" creationId="{346BEC17-BD22-0744-9A2C-CAAC25B98B1B}"/>
          </ac:spMkLst>
        </pc:spChg>
        <pc:spChg chg="add del mod">
          <ac:chgData name="Dina Zhanibekova" userId="7f5429faef2cd498" providerId="LiveId" clId="{12DFA05D-CFCB-0247-9D1B-E6FD9FB33305}" dt="2020-05-22T09:00:49.974" v="5326" actId="478"/>
          <ac:spMkLst>
            <pc:docMk/>
            <pc:sldMk cId="2866558915" sldId="1397"/>
            <ac:spMk id="25" creationId="{1B085F77-060F-8E4A-A116-61F501AA5F21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26" creationId="{A2785B9E-EF70-5140-A6BE-2517E25E9255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28" creationId="{3CA6F419-65C1-BF41-9E8F-6E3B92E344E4}"/>
          </ac:spMkLst>
        </pc:spChg>
        <pc:spChg chg="add del mod">
          <ac:chgData name="Dina Zhanibekova" userId="7f5429faef2cd498" providerId="LiveId" clId="{12DFA05D-CFCB-0247-9D1B-E6FD9FB33305}" dt="2020-05-22T09:00:49.974" v="5326" actId="478"/>
          <ac:spMkLst>
            <pc:docMk/>
            <pc:sldMk cId="2866558915" sldId="1397"/>
            <ac:spMk id="29" creationId="{697E032B-4037-654E-89A5-4A5B487D0E54}"/>
          </ac:spMkLst>
        </pc:spChg>
        <pc:spChg chg="add mod">
          <ac:chgData name="Dina Zhanibekova" userId="7f5429faef2cd498" providerId="LiveId" clId="{12DFA05D-CFCB-0247-9D1B-E6FD9FB33305}" dt="2020-05-22T09:09:04.101" v="5704" actId="20577"/>
          <ac:spMkLst>
            <pc:docMk/>
            <pc:sldMk cId="2866558915" sldId="1397"/>
            <ac:spMk id="30" creationId="{F07875BA-8297-8C4C-847F-5F37597BC24E}"/>
          </ac:spMkLst>
        </pc:spChg>
        <pc:spChg chg="add mod">
          <ac:chgData name="Dina Zhanibekova" userId="7f5429faef2cd498" providerId="LiveId" clId="{12DFA05D-CFCB-0247-9D1B-E6FD9FB33305}" dt="2020-05-22T09:08:25.149" v="5656" actId="20577"/>
          <ac:spMkLst>
            <pc:docMk/>
            <pc:sldMk cId="2866558915" sldId="1397"/>
            <ac:spMk id="31" creationId="{0612C966-80C6-9A41-8D64-A5FC6D96D042}"/>
          </ac:spMkLst>
        </pc:spChg>
        <pc:spChg chg="add del mod">
          <ac:chgData name="Dina Zhanibekova" userId="7f5429faef2cd498" providerId="LiveId" clId="{12DFA05D-CFCB-0247-9D1B-E6FD9FB33305}" dt="2020-05-22T09:00:49.974" v="5326" actId="478"/>
          <ac:spMkLst>
            <pc:docMk/>
            <pc:sldMk cId="2866558915" sldId="1397"/>
            <ac:spMk id="32" creationId="{33A391DA-323A-7848-914B-BE9BCF23DE78}"/>
          </ac:spMkLst>
        </pc:spChg>
        <pc:spChg chg="add del mod">
          <ac:chgData name="Dina Zhanibekova" userId="7f5429faef2cd498" providerId="LiveId" clId="{12DFA05D-CFCB-0247-9D1B-E6FD9FB33305}" dt="2020-05-22T09:00:45.593" v="5325" actId="478"/>
          <ac:spMkLst>
            <pc:docMk/>
            <pc:sldMk cId="2866558915" sldId="1397"/>
            <ac:spMk id="33" creationId="{D298AA1D-3B2E-AF41-9097-8A8EC4242707}"/>
          </ac:spMkLst>
        </pc:spChg>
        <pc:spChg chg="add del mod">
          <ac:chgData name="Dina Zhanibekova" userId="7f5429faef2cd498" providerId="LiveId" clId="{12DFA05D-CFCB-0247-9D1B-E6FD9FB33305}" dt="2020-05-22T09:00:49.974" v="5326" actId="478"/>
          <ac:spMkLst>
            <pc:docMk/>
            <pc:sldMk cId="2866558915" sldId="1397"/>
            <ac:spMk id="34" creationId="{BD5550D8-C6E0-B84F-A9EB-1CE950A23353}"/>
          </ac:spMkLst>
        </pc:spChg>
        <pc:spChg chg="add del mod">
          <ac:chgData name="Dina Zhanibekova" userId="7f5429faef2cd498" providerId="LiveId" clId="{12DFA05D-CFCB-0247-9D1B-E6FD9FB33305}" dt="2020-05-22T09:09:15.289" v="5724" actId="478"/>
          <ac:spMkLst>
            <pc:docMk/>
            <pc:sldMk cId="2866558915" sldId="1397"/>
            <ac:spMk id="35" creationId="{F4258E86-F530-6D46-9876-E674A1896EF6}"/>
          </ac:spMkLst>
        </pc:spChg>
        <pc:spChg chg="add del mod">
          <ac:chgData name="Dina Zhanibekova" userId="7f5429faef2cd498" providerId="LiveId" clId="{12DFA05D-CFCB-0247-9D1B-E6FD9FB33305}" dt="2020-05-22T09:09:14.222" v="5723" actId="478"/>
          <ac:spMkLst>
            <pc:docMk/>
            <pc:sldMk cId="2866558915" sldId="1397"/>
            <ac:spMk id="36" creationId="{C78BC63D-1C87-5843-A7CF-109E63DF3ED0}"/>
          </ac:spMkLst>
        </pc:spChg>
        <pc:spChg chg="add mod">
          <ac:chgData name="Dina Zhanibekova" userId="7f5429faef2cd498" providerId="LiveId" clId="{12DFA05D-CFCB-0247-9D1B-E6FD9FB33305}" dt="2020-05-22T09:01:22.714" v="5378" actId="1076"/>
          <ac:spMkLst>
            <pc:docMk/>
            <pc:sldMk cId="2866558915" sldId="1397"/>
            <ac:spMk id="37" creationId="{57AC63AE-9DB8-D946-B3E0-865D2D986056}"/>
          </ac:spMkLst>
        </pc:spChg>
        <pc:spChg chg="add mod">
          <ac:chgData name="Dina Zhanibekova" userId="7f5429faef2cd498" providerId="LiveId" clId="{12DFA05D-CFCB-0247-9D1B-E6FD9FB33305}" dt="2020-05-22T10:10:18.771" v="5729"/>
          <ac:spMkLst>
            <pc:docMk/>
            <pc:sldMk cId="2866558915" sldId="1397"/>
            <ac:spMk id="38" creationId="{7F63A32F-63BE-5D45-87A8-CD61D298D2D6}"/>
          </ac:spMkLst>
        </pc:spChg>
        <pc:spChg chg="add mod">
          <ac:chgData name="Dina Zhanibekova" userId="7f5429faef2cd498" providerId="LiveId" clId="{12DFA05D-CFCB-0247-9D1B-E6FD9FB33305}" dt="2020-05-22T09:08:45.521" v="5662" actId="113"/>
          <ac:spMkLst>
            <pc:docMk/>
            <pc:sldMk cId="2866558915" sldId="1397"/>
            <ac:spMk id="39" creationId="{D78F8138-58BE-3847-8C45-6CD561705AD6}"/>
          </ac:spMkLst>
        </pc:spChg>
        <pc:spChg chg="add mod">
          <ac:chgData name="Dina Zhanibekova" userId="7f5429faef2cd498" providerId="LiveId" clId="{12DFA05D-CFCB-0247-9D1B-E6FD9FB33305}" dt="2020-05-22T09:00:59.257" v="5361" actId="1035"/>
          <ac:spMkLst>
            <pc:docMk/>
            <pc:sldMk cId="2866558915" sldId="1397"/>
            <ac:spMk id="40" creationId="{4ED270C0-D559-8E48-8E2A-708515392A1F}"/>
          </ac:spMkLst>
        </pc:spChg>
        <pc:spChg chg="add mod">
          <ac:chgData name="Dina Zhanibekova" userId="7f5429faef2cd498" providerId="LiveId" clId="{12DFA05D-CFCB-0247-9D1B-E6FD9FB33305}" dt="2020-05-22T09:08:34.985" v="5658" actId="113"/>
          <ac:spMkLst>
            <pc:docMk/>
            <pc:sldMk cId="2866558915" sldId="1397"/>
            <ac:spMk id="41" creationId="{5BB306D6-D81C-C94D-AF64-DC20796D89E4}"/>
          </ac:spMkLst>
        </pc:spChg>
        <pc:spChg chg="add mod">
          <ac:chgData name="Dina Zhanibekova" userId="7f5429faef2cd498" providerId="LiveId" clId="{12DFA05D-CFCB-0247-9D1B-E6FD9FB33305}" dt="2020-05-22T10:11:46.614" v="5741"/>
          <ac:spMkLst>
            <pc:docMk/>
            <pc:sldMk cId="2866558915" sldId="1397"/>
            <ac:spMk id="42" creationId="{13A82174-1716-FA4B-934F-89C097138B92}"/>
          </ac:spMkLst>
        </pc:spChg>
        <pc:spChg chg="add mod">
          <ac:chgData name="Dina Zhanibekova" userId="7f5429faef2cd498" providerId="LiveId" clId="{12DFA05D-CFCB-0247-9D1B-E6FD9FB33305}" dt="2020-05-22T09:02:09.305" v="5417" actId="14100"/>
          <ac:spMkLst>
            <pc:docMk/>
            <pc:sldMk cId="2866558915" sldId="1397"/>
            <ac:spMk id="43" creationId="{8A040CBF-BC4F-CA42-91D8-B3D223AA6444}"/>
          </ac:spMkLst>
        </pc:spChg>
        <pc:spChg chg="add mod">
          <ac:chgData name="Dina Zhanibekova" userId="7f5429faef2cd498" providerId="LiveId" clId="{12DFA05D-CFCB-0247-9D1B-E6FD9FB33305}" dt="2020-05-22T09:02:20.226" v="5420" actId="1076"/>
          <ac:spMkLst>
            <pc:docMk/>
            <pc:sldMk cId="2866558915" sldId="1397"/>
            <ac:spMk id="44" creationId="{3B026938-E8DA-0B4E-B10F-9E5E9935B6FD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138" creationId="{16A1735A-CA88-2A4E-AB66-3ABEC6DF09F1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139" creationId="{3CF2F6B6-B9E3-6343-9EE3-4FBA3E959298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141" creationId="{456C39D3-9BF1-CA45-80FC-A5E62BDD3073}"/>
          </ac:spMkLst>
        </pc:spChg>
        <pc:spChg chg="del">
          <ac:chgData name="Dina Zhanibekova" userId="7f5429faef2cd498" providerId="LiveId" clId="{12DFA05D-CFCB-0247-9D1B-E6FD9FB33305}" dt="2020-05-22T06:38:35.007" v="4005" actId="478"/>
          <ac:spMkLst>
            <pc:docMk/>
            <pc:sldMk cId="2866558915" sldId="1397"/>
            <ac:spMk id="216" creationId="{0DCBC548-EE29-E84E-AAD6-0622C5207351}"/>
          </ac:spMkLst>
        </pc:spChg>
        <pc:grpChg chg="del">
          <ac:chgData name="Dina Zhanibekova" userId="7f5429faef2cd498" providerId="LiveId" clId="{12DFA05D-CFCB-0247-9D1B-E6FD9FB33305}" dt="2020-05-22T06:38:35.007" v="4005" actId="478"/>
          <ac:grpSpMkLst>
            <pc:docMk/>
            <pc:sldMk cId="2866558915" sldId="1397"/>
            <ac:grpSpMk id="237" creationId="{8C1F2F2E-F5BC-E14C-9865-6D5CA98283FB}"/>
          </ac:grpSpMkLst>
        </pc:grpChg>
        <pc:graphicFrameChg chg="del">
          <ac:chgData name="Dina Zhanibekova" userId="7f5429faef2cd498" providerId="LiveId" clId="{12DFA05D-CFCB-0247-9D1B-E6FD9FB33305}" dt="2020-05-22T06:38:35.007" v="4005" actId="478"/>
          <ac:graphicFrameMkLst>
            <pc:docMk/>
            <pc:sldMk cId="2866558915" sldId="1397"/>
            <ac:graphicFrameMk id="27" creationId="{50862D92-25B6-0F4D-B03D-412F59F3FD08}"/>
          </ac:graphicFrameMkLst>
        </pc:graphicFrameChg>
      </pc:sldChg>
      <pc:sldChg chg="addSp delSp modSp add">
        <pc:chgData name="Dina Zhanibekova" userId="7f5429faef2cd498" providerId="LiveId" clId="{12DFA05D-CFCB-0247-9D1B-E6FD9FB33305}" dt="2020-05-22T07:07:47.960" v="4565" actId="1076"/>
        <pc:sldMkLst>
          <pc:docMk/>
          <pc:sldMk cId="4124870415" sldId="1398"/>
        </pc:sldMkLst>
        <pc:spChg chg="add del mod">
          <ac:chgData name="Dina Zhanibekova" userId="7f5429faef2cd498" providerId="LiveId" clId="{12DFA05D-CFCB-0247-9D1B-E6FD9FB33305}" dt="2020-05-22T07:04:27.638" v="4469"/>
          <ac:spMkLst>
            <pc:docMk/>
            <pc:sldMk cId="4124870415" sldId="1398"/>
            <ac:spMk id="7" creationId="{62469B20-980C-654C-9087-627B941DC6E3}"/>
          </ac:spMkLst>
        </pc:spChg>
        <pc:spChg chg="add del mod">
          <ac:chgData name="Dina Zhanibekova" userId="7f5429faef2cd498" providerId="LiveId" clId="{12DFA05D-CFCB-0247-9D1B-E6FD9FB33305}" dt="2020-05-22T06:41:44.784" v="4020" actId="478"/>
          <ac:spMkLst>
            <pc:docMk/>
            <pc:sldMk cId="4124870415" sldId="1398"/>
            <ac:spMk id="21" creationId="{31AFABC7-02BF-134D-8AC5-6AA820C62DD1}"/>
          </ac:spMkLst>
        </pc:spChg>
        <pc:spChg chg="add del mod">
          <ac:chgData name="Dina Zhanibekova" userId="7f5429faef2cd498" providerId="LiveId" clId="{12DFA05D-CFCB-0247-9D1B-E6FD9FB33305}" dt="2020-05-22T06:41:42.482" v="4019" actId="478"/>
          <ac:spMkLst>
            <pc:docMk/>
            <pc:sldMk cId="4124870415" sldId="1398"/>
            <ac:spMk id="23" creationId="{131D290B-D510-A244-9682-870023CD69C2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24" creationId="{21931CB8-555F-A249-B08B-D08681CB4A84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25" creationId="{74417DF2-6C0F-B740-85E3-BDF578541339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26" creationId="{CFB260E1-DAB3-3D4C-89A3-F7BEBE1B06A3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28" creationId="{71E3B5FD-9450-C34A-8E3F-8EEA749646A7}"/>
          </ac:spMkLst>
        </pc:spChg>
        <pc:spChg chg="add del mod">
          <ac:chgData name="Dina Zhanibekova" userId="7f5429faef2cd498" providerId="LiveId" clId="{12DFA05D-CFCB-0247-9D1B-E6FD9FB33305}" dt="2020-05-22T06:50:33.782" v="4141" actId="478"/>
          <ac:spMkLst>
            <pc:docMk/>
            <pc:sldMk cId="4124870415" sldId="1398"/>
            <ac:spMk id="29" creationId="{CA31E2FC-0AA8-E846-859C-1B49914A41DB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31" creationId="{D1DCD45B-5414-8547-B3B7-9A6BD748FB2D}"/>
          </ac:spMkLst>
        </pc:spChg>
        <pc:spChg chg="add del mod">
          <ac:chgData name="Dina Zhanibekova" userId="7f5429faef2cd498" providerId="LiveId" clId="{12DFA05D-CFCB-0247-9D1B-E6FD9FB33305}" dt="2020-05-22T06:42:00.457" v="4048" actId="478"/>
          <ac:spMkLst>
            <pc:docMk/>
            <pc:sldMk cId="4124870415" sldId="1398"/>
            <ac:spMk id="32" creationId="{0B0BE909-B71D-4147-850D-2341FC80DD42}"/>
          </ac:spMkLst>
        </pc:spChg>
        <pc:spChg chg="add del mod">
          <ac:chgData name="Dina Zhanibekova" userId="7f5429faef2cd498" providerId="LiveId" clId="{12DFA05D-CFCB-0247-9D1B-E6FD9FB33305}" dt="2020-05-22T06:50:34.962" v="4142" actId="478"/>
          <ac:spMkLst>
            <pc:docMk/>
            <pc:sldMk cId="4124870415" sldId="1398"/>
            <ac:spMk id="33" creationId="{CBA2408E-0A49-BD4D-ADF2-7FDBEE48F478}"/>
          </ac:spMkLst>
        </pc:spChg>
        <pc:spChg chg="add del mod">
          <ac:chgData name="Dina Zhanibekova" userId="7f5429faef2cd498" providerId="LiveId" clId="{12DFA05D-CFCB-0247-9D1B-E6FD9FB33305}" dt="2020-05-22T06:42:05.184" v="4050" actId="478"/>
          <ac:spMkLst>
            <pc:docMk/>
            <pc:sldMk cId="4124870415" sldId="1398"/>
            <ac:spMk id="34" creationId="{B7739286-276D-E64B-AACD-BC409F15E593}"/>
          </ac:spMkLst>
        </pc:spChg>
        <pc:spChg chg="add del mod">
          <ac:chgData name="Dina Zhanibekova" userId="7f5429faef2cd498" providerId="LiveId" clId="{12DFA05D-CFCB-0247-9D1B-E6FD9FB33305}" dt="2020-05-22T06:50:37.191" v="4144" actId="478"/>
          <ac:spMkLst>
            <pc:docMk/>
            <pc:sldMk cId="4124870415" sldId="1398"/>
            <ac:spMk id="36" creationId="{0D7DE12E-DFB7-4D48-BFE2-47E9F64DDCB1}"/>
          </ac:spMkLst>
        </pc:spChg>
        <pc:spChg chg="add mod">
          <ac:chgData name="Dina Zhanibekova" userId="7f5429faef2cd498" providerId="LiveId" clId="{12DFA05D-CFCB-0247-9D1B-E6FD9FB33305}" dt="2020-05-22T06:40:40.581" v="4016"/>
          <ac:spMkLst>
            <pc:docMk/>
            <pc:sldMk cId="4124870415" sldId="1398"/>
            <ac:spMk id="37" creationId="{9CEB1567-0775-8A4C-A213-096BB9E7F3BD}"/>
          </ac:spMkLst>
        </pc:spChg>
        <pc:spChg chg="add del mod">
          <ac:chgData name="Dina Zhanibekova" userId="7f5429faef2cd498" providerId="LiveId" clId="{12DFA05D-CFCB-0247-9D1B-E6FD9FB33305}" dt="2020-05-22T06:44:23.563" v="4094" actId="478"/>
          <ac:spMkLst>
            <pc:docMk/>
            <pc:sldMk cId="4124870415" sldId="1398"/>
            <ac:spMk id="38" creationId="{EA1B2161-0359-B34A-9301-C374A7E0874A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39" creationId="{948C1BA0-B1AB-4B46-B97B-C25A35780533}"/>
          </ac:spMkLst>
        </pc:spChg>
        <pc:spChg chg="del">
          <ac:chgData name="Dina Zhanibekova" userId="7f5429faef2cd498" providerId="LiveId" clId="{12DFA05D-CFCB-0247-9D1B-E6FD9FB33305}" dt="2020-05-22T06:40:06.197" v="4011" actId="478"/>
          <ac:spMkLst>
            <pc:docMk/>
            <pc:sldMk cId="4124870415" sldId="1398"/>
            <ac:spMk id="42" creationId="{00FCF874-9649-2642-AF84-D7BE365107B9}"/>
          </ac:spMkLst>
        </pc:spChg>
        <pc:spChg chg="del">
          <ac:chgData name="Dina Zhanibekova" userId="7f5429faef2cd498" providerId="LiveId" clId="{12DFA05D-CFCB-0247-9D1B-E6FD9FB33305}" dt="2020-05-22T06:40:06.197" v="4011" actId="478"/>
          <ac:spMkLst>
            <pc:docMk/>
            <pc:sldMk cId="4124870415" sldId="1398"/>
            <ac:spMk id="43" creationId="{E9627646-A845-8045-965C-7C7D06F59554}"/>
          </ac:spMkLst>
        </pc:spChg>
        <pc:spChg chg="del">
          <ac:chgData name="Dina Zhanibekova" userId="7f5429faef2cd498" providerId="LiveId" clId="{12DFA05D-CFCB-0247-9D1B-E6FD9FB33305}" dt="2020-05-22T06:40:06.197" v="4011" actId="478"/>
          <ac:spMkLst>
            <pc:docMk/>
            <pc:sldMk cId="4124870415" sldId="1398"/>
            <ac:spMk id="44" creationId="{D3828FB2-09F7-8C4E-8629-3AE9ADE20B73}"/>
          </ac:spMkLst>
        </pc:spChg>
        <pc:spChg chg="del">
          <ac:chgData name="Dina Zhanibekova" userId="7f5429faef2cd498" providerId="LiveId" clId="{12DFA05D-CFCB-0247-9D1B-E6FD9FB33305}" dt="2020-05-22T06:40:06.197" v="4011" actId="478"/>
          <ac:spMkLst>
            <pc:docMk/>
            <pc:sldMk cId="4124870415" sldId="1398"/>
            <ac:spMk id="45" creationId="{5BE7FA0A-242B-3041-A383-236E3573687F}"/>
          </ac:spMkLst>
        </pc:spChg>
        <pc:spChg chg="del">
          <ac:chgData name="Dina Zhanibekova" userId="7f5429faef2cd498" providerId="LiveId" clId="{12DFA05D-CFCB-0247-9D1B-E6FD9FB33305}" dt="2020-05-22T06:40:39.652" v="4015" actId="478"/>
          <ac:spMkLst>
            <pc:docMk/>
            <pc:sldMk cId="4124870415" sldId="1398"/>
            <ac:spMk id="48" creationId="{2A924633-D274-EE4E-A3CD-F51B7E83ADAB}"/>
          </ac:spMkLst>
        </pc:spChg>
        <pc:spChg chg="del mod">
          <ac:chgData name="Dina Zhanibekova" userId="7f5429faef2cd498" providerId="LiveId" clId="{12DFA05D-CFCB-0247-9D1B-E6FD9FB33305}" dt="2020-05-22T07:02:00.464" v="4416" actId="478"/>
          <ac:spMkLst>
            <pc:docMk/>
            <pc:sldMk cId="4124870415" sldId="1398"/>
            <ac:spMk id="55" creationId="{98BAD621-D9CD-994B-8C03-CB7EC4EC9FA2}"/>
          </ac:spMkLst>
        </pc:spChg>
        <pc:spChg chg="add del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58" creationId="{9D30F8DF-101E-AF4D-A71E-DB45CA1D96F0}"/>
          </ac:spMkLst>
        </pc:spChg>
        <pc:spChg chg="add del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59" creationId="{59F97CF8-FC01-B74E-82B0-A4B903BD5DC3}"/>
          </ac:spMkLst>
        </pc:spChg>
        <pc:spChg chg="add del mod">
          <ac:chgData name="Dina Zhanibekova" userId="7f5429faef2cd498" providerId="LiveId" clId="{12DFA05D-CFCB-0247-9D1B-E6FD9FB33305}" dt="2020-05-22T07:02:41.112" v="4426"/>
          <ac:spMkLst>
            <pc:docMk/>
            <pc:sldMk cId="4124870415" sldId="1398"/>
            <ac:spMk id="61" creationId="{6A311089-7358-DD4F-9576-73C53BA5555E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65" creationId="{AE4BE5DC-D089-894F-94B0-78AD76584316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66" creationId="{E96C9A6E-2B69-9349-9D7B-C8F8B28689B5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69" creationId="{827BCEFD-E1A6-304B-A206-C2F6F1CADBD4}"/>
          </ac:spMkLst>
        </pc:spChg>
        <pc:spChg chg="add mod">
          <ac:chgData name="Dina Zhanibekova" userId="7f5429faef2cd498" providerId="LiveId" clId="{12DFA05D-CFCB-0247-9D1B-E6FD9FB33305}" dt="2020-05-22T07:07:36.981" v="4564" actId="1036"/>
          <ac:spMkLst>
            <pc:docMk/>
            <pc:sldMk cId="4124870415" sldId="1398"/>
            <ac:spMk id="70" creationId="{B5ADE327-66AB-344B-9193-9BCA4D44B657}"/>
          </ac:spMkLst>
        </pc:spChg>
        <pc:grpChg chg="del">
          <ac:chgData name="Dina Zhanibekova" userId="7f5429faef2cd498" providerId="LiveId" clId="{12DFA05D-CFCB-0247-9D1B-E6FD9FB33305}" dt="2020-05-22T06:40:06.197" v="4011" actId="478"/>
          <ac:grpSpMkLst>
            <pc:docMk/>
            <pc:sldMk cId="4124870415" sldId="1398"/>
            <ac:grpSpMk id="46" creationId="{057ECEED-146A-7F47-BEBC-8BA118BADC47}"/>
          </ac:grpSpMkLst>
        </pc:grpChg>
        <pc:grpChg chg="del">
          <ac:chgData name="Dina Zhanibekova" userId="7f5429faef2cd498" providerId="LiveId" clId="{12DFA05D-CFCB-0247-9D1B-E6FD9FB33305}" dt="2020-05-22T06:40:06.197" v="4011" actId="478"/>
          <ac:grpSpMkLst>
            <pc:docMk/>
            <pc:sldMk cId="4124870415" sldId="1398"/>
            <ac:grpSpMk id="51" creationId="{75C43572-365E-E64F-B856-E8202E860B61}"/>
          </ac:grpSpMkLst>
        </pc:grpChg>
        <pc:graphicFrameChg chg="add del mod">
          <ac:chgData name="Dina Zhanibekova" userId="7f5429faef2cd498" providerId="LiveId" clId="{12DFA05D-CFCB-0247-9D1B-E6FD9FB33305}" dt="2020-05-22T06:55:27.573" v="4240"/>
          <ac:graphicFrameMkLst>
            <pc:docMk/>
            <pc:sldMk cId="4124870415" sldId="1398"/>
            <ac:graphicFrameMk id="2" creationId="{F0643AE5-FFC6-B641-AA2A-B7889A4D79C5}"/>
          </ac:graphicFrameMkLst>
        </pc:graphicFrameChg>
        <pc:graphicFrameChg chg="add del mod">
          <ac:chgData name="Dina Zhanibekova" userId="7f5429faef2cd498" providerId="LiveId" clId="{12DFA05D-CFCB-0247-9D1B-E6FD9FB33305}" dt="2020-05-22T06:55:31.251" v="4242"/>
          <ac:graphicFrameMkLst>
            <pc:docMk/>
            <pc:sldMk cId="4124870415" sldId="1398"/>
            <ac:graphicFrameMk id="3" creationId="{3C9B2404-82EF-5F42-A01F-59B926E87FB4}"/>
          </ac:graphicFrameMkLst>
        </pc:graphicFrameChg>
        <pc:graphicFrameChg chg="add del mod">
          <ac:chgData name="Dina Zhanibekova" userId="7f5429faef2cd498" providerId="LiveId" clId="{12DFA05D-CFCB-0247-9D1B-E6FD9FB33305}" dt="2020-05-22T06:55:36.358" v="4244"/>
          <ac:graphicFrameMkLst>
            <pc:docMk/>
            <pc:sldMk cId="4124870415" sldId="1398"/>
            <ac:graphicFrameMk id="5" creationId="{7519F01F-4C0B-304F-97A2-98A960B92CFA}"/>
          </ac:graphicFrameMkLst>
        </pc:graphicFrameChg>
        <pc:graphicFrameChg chg="add del mod">
          <ac:chgData name="Dina Zhanibekova" userId="7f5429faef2cd498" providerId="LiveId" clId="{12DFA05D-CFCB-0247-9D1B-E6FD9FB33305}" dt="2020-05-22T06:59:24.493" v="4381"/>
          <ac:graphicFrameMkLst>
            <pc:docMk/>
            <pc:sldMk cId="4124870415" sldId="1398"/>
            <ac:graphicFrameMk id="6" creationId="{80DA665C-287E-0441-BBB4-D1275821D2C3}"/>
          </ac:graphicFrameMkLst>
        </pc:graphicFrameChg>
        <pc:graphicFrameChg chg="add del mod">
          <ac:chgData name="Dina Zhanibekova" userId="7f5429faef2cd498" providerId="LiveId" clId="{12DFA05D-CFCB-0247-9D1B-E6FD9FB33305}" dt="2020-05-22T07:05:00.176" v="4509"/>
          <ac:graphicFrameMkLst>
            <pc:docMk/>
            <pc:sldMk cId="4124870415" sldId="1398"/>
            <ac:graphicFrameMk id="8" creationId="{27F9BE7D-2477-FA40-BED0-0B5AE5356E2B}"/>
          </ac:graphicFrameMkLst>
        </pc:graphicFrameChg>
        <pc:graphicFrameChg chg="add del mod">
          <ac:chgData name="Dina Zhanibekova" userId="7f5429faef2cd498" providerId="LiveId" clId="{12DFA05D-CFCB-0247-9D1B-E6FD9FB33305}" dt="2020-05-22T07:07:15.960" v="4549"/>
          <ac:graphicFrameMkLst>
            <pc:docMk/>
            <pc:sldMk cId="4124870415" sldId="1398"/>
            <ac:graphicFrameMk id="9" creationId="{2C08659D-293D-9944-9983-4BE70777209F}"/>
          </ac:graphicFrameMkLst>
        </pc:graphicFrame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20" creationId="{114695FE-50ED-094B-B841-23DBD83C3546}"/>
          </ac:cxnSpMkLst>
        </pc:cxn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22" creationId="{C3D3D140-7B6D-F948-9234-90AAF778B6C2}"/>
          </ac:cxnSpMkLst>
        </pc:cxnChg>
        <pc:cxnChg chg="add del mod">
          <ac:chgData name="Dina Zhanibekova" userId="7f5429faef2cd498" providerId="LiveId" clId="{12DFA05D-CFCB-0247-9D1B-E6FD9FB33305}" dt="2020-05-22T06:50:35.894" v="4143" actId="478"/>
          <ac:cxnSpMkLst>
            <pc:docMk/>
            <pc:sldMk cId="4124870415" sldId="1398"/>
            <ac:cxnSpMk id="27" creationId="{E9692766-9DC2-B343-9829-5B33A0E33341}"/>
          </ac:cxnSpMkLst>
        </pc:cxn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30" creationId="{B190C735-E892-3B47-9639-E9241618CDD4}"/>
          </ac:cxnSpMkLst>
        </pc:cxnChg>
        <pc:cxnChg chg="add del mod">
          <ac:chgData name="Dina Zhanibekova" userId="7f5429faef2cd498" providerId="LiveId" clId="{12DFA05D-CFCB-0247-9D1B-E6FD9FB33305}" dt="2020-05-22T06:50:38.470" v="4145" actId="478"/>
          <ac:cxnSpMkLst>
            <pc:docMk/>
            <pc:sldMk cId="4124870415" sldId="1398"/>
            <ac:cxnSpMk id="35" creationId="{4678EE5D-887D-3A4E-AC31-FF71A57F348A}"/>
          </ac:cxnSpMkLst>
        </pc:cxnChg>
        <pc:cxnChg chg="add del mod">
          <ac:chgData name="Dina Zhanibekova" userId="7f5429faef2cd498" providerId="LiveId" clId="{12DFA05D-CFCB-0247-9D1B-E6FD9FB33305}" dt="2020-05-22T06:58:13.769" v="4372" actId="478"/>
          <ac:cxnSpMkLst>
            <pc:docMk/>
            <pc:sldMk cId="4124870415" sldId="1398"/>
            <ac:cxnSpMk id="56" creationId="{DBDC2822-57B6-6840-BEB8-78FC52948CA4}"/>
          </ac:cxnSpMkLst>
        </pc:cxnChg>
        <pc:cxnChg chg="add del mod">
          <ac:chgData name="Dina Zhanibekova" userId="7f5429faef2cd498" providerId="LiveId" clId="{12DFA05D-CFCB-0247-9D1B-E6FD9FB33305}" dt="2020-05-22T07:07:47.960" v="4565" actId="1076"/>
          <ac:cxnSpMkLst>
            <pc:docMk/>
            <pc:sldMk cId="4124870415" sldId="1398"/>
            <ac:cxnSpMk id="57" creationId="{5CAD0E01-E38C-544F-8D9F-4F2999CF33E2}"/>
          </ac:cxnSpMkLst>
        </pc:cxnChg>
        <pc:cxnChg chg="add del mod">
          <ac:chgData name="Dina Zhanibekova" userId="7f5429faef2cd498" providerId="LiveId" clId="{12DFA05D-CFCB-0247-9D1B-E6FD9FB33305}" dt="2020-05-22T07:02:41.112" v="4426"/>
          <ac:cxnSpMkLst>
            <pc:docMk/>
            <pc:sldMk cId="4124870415" sldId="1398"/>
            <ac:cxnSpMk id="60" creationId="{D2B4EB3D-8E33-FC48-B8FA-89BE88C9140C}"/>
          </ac:cxnSpMkLst>
        </pc:cxnChg>
        <pc:cxnChg chg="add del mod">
          <ac:chgData name="Dina Zhanibekova" userId="7f5429faef2cd498" providerId="LiveId" clId="{12DFA05D-CFCB-0247-9D1B-E6FD9FB33305}" dt="2020-05-22T07:03:25.299" v="4459" actId="478"/>
          <ac:cxnSpMkLst>
            <pc:docMk/>
            <pc:sldMk cId="4124870415" sldId="1398"/>
            <ac:cxnSpMk id="62" creationId="{B3B9AAB8-8D67-0A4D-BBFE-9341BA487E9D}"/>
          </ac:cxnSpMkLst>
        </pc:cxn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64" creationId="{F7253834-0E15-9C46-B929-EF6DB33EA1EA}"/>
          </ac:cxnSpMkLst>
        </pc:cxn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67" creationId="{450FEE0A-C1EB-C54F-8437-666480B745A5}"/>
          </ac:cxnSpMkLst>
        </pc:cxnChg>
        <pc:cxnChg chg="add mod">
          <ac:chgData name="Dina Zhanibekova" userId="7f5429faef2cd498" providerId="LiveId" clId="{12DFA05D-CFCB-0247-9D1B-E6FD9FB33305}" dt="2020-05-22T07:07:36.981" v="4564" actId="1036"/>
          <ac:cxnSpMkLst>
            <pc:docMk/>
            <pc:sldMk cId="4124870415" sldId="1398"/>
            <ac:cxnSpMk id="68" creationId="{CC3FFAEA-4203-9E43-973E-A52C532EFFBE}"/>
          </ac:cxnSpMkLst>
        </pc:cxnChg>
      </pc:sldChg>
      <pc:sldChg chg="addSp delSp modSp add ord">
        <pc:chgData name="Dina Zhanibekova" userId="7f5429faef2cd498" providerId="LiveId" clId="{12DFA05D-CFCB-0247-9D1B-E6FD9FB33305}" dt="2020-05-22T11:08:28.903" v="6258" actId="20577"/>
        <pc:sldMkLst>
          <pc:docMk/>
          <pc:sldMk cId="2196007927" sldId="1399"/>
        </pc:sldMkLst>
        <pc:spChg chg="add del mod">
          <ac:chgData name="Dina Zhanibekova" userId="7f5429faef2cd498" providerId="LiveId" clId="{12DFA05D-CFCB-0247-9D1B-E6FD9FB33305}" dt="2020-05-22T11:06:48.861" v="6173" actId="478"/>
          <ac:spMkLst>
            <pc:docMk/>
            <pc:sldMk cId="2196007927" sldId="1399"/>
            <ac:spMk id="2" creationId="{2223BE4B-22B3-0148-A0A3-4335EB27423C}"/>
          </ac:spMkLst>
        </pc:spChg>
        <pc:spChg chg="mod">
          <ac:chgData name="Dina Zhanibekova" userId="7f5429faef2cd498" providerId="LiveId" clId="{12DFA05D-CFCB-0247-9D1B-E6FD9FB33305}" dt="2020-05-22T11:07:51.500" v="6229" actId="403"/>
          <ac:spMkLst>
            <pc:docMk/>
            <pc:sldMk cId="2196007927" sldId="1399"/>
            <ac:spMk id="6" creationId="{90C2E6A8-83FE-6F4C-93A0-4FBD29F371E5}"/>
          </ac:spMkLst>
        </pc:spChg>
        <pc:spChg chg="add del mod">
          <ac:chgData name="Dina Zhanibekova" userId="7f5429faef2cd498" providerId="LiveId" clId="{12DFA05D-CFCB-0247-9D1B-E6FD9FB33305}" dt="2020-05-22T11:06:44.842" v="6171" actId="478"/>
          <ac:spMkLst>
            <pc:docMk/>
            <pc:sldMk cId="2196007927" sldId="1399"/>
            <ac:spMk id="20" creationId="{D7939C6E-47D8-3C4B-B27B-C9CAC05DC68B}"/>
          </ac:spMkLst>
        </pc:spChg>
        <pc:spChg chg="add mod">
          <ac:chgData name="Dina Zhanibekova" userId="7f5429faef2cd498" providerId="LiveId" clId="{12DFA05D-CFCB-0247-9D1B-E6FD9FB33305}" dt="2020-05-22T08:16:50.131" v="5092"/>
          <ac:spMkLst>
            <pc:docMk/>
            <pc:sldMk cId="2196007927" sldId="1399"/>
            <ac:spMk id="21" creationId="{03371E67-4E0B-6041-898E-6C67FEB1147D}"/>
          </ac:spMkLst>
        </pc:spChg>
        <pc:spChg chg="add del mod">
          <ac:chgData name="Dina Zhanibekova" userId="7f5429faef2cd498" providerId="LiveId" clId="{12DFA05D-CFCB-0247-9D1B-E6FD9FB33305}" dt="2020-05-22T11:06:47.008" v="6172" actId="478"/>
          <ac:spMkLst>
            <pc:docMk/>
            <pc:sldMk cId="2196007927" sldId="1399"/>
            <ac:spMk id="22" creationId="{3C8AA9E2-E69F-CB44-907E-1C73BB4D6FA3}"/>
          </ac:spMkLst>
        </pc:spChg>
        <pc:spChg chg="mod">
          <ac:chgData name="Dina Zhanibekova" userId="7f5429faef2cd498" providerId="LiveId" clId="{12DFA05D-CFCB-0247-9D1B-E6FD9FB33305}" dt="2020-05-22T08:17:21.594" v="5119" actId="14100"/>
          <ac:spMkLst>
            <pc:docMk/>
            <pc:sldMk cId="2196007927" sldId="1399"/>
            <ac:spMk id="26" creationId="{A2785B9E-EF70-5140-A6BE-2517E25E9255}"/>
          </ac:spMkLst>
        </pc:spChg>
        <pc:spChg chg="add del mod">
          <ac:chgData name="Dina Zhanibekova" userId="7f5429faef2cd498" providerId="LiveId" clId="{12DFA05D-CFCB-0247-9D1B-E6FD9FB33305}" dt="2020-05-22T08:17:07.701" v="5101" actId="478"/>
          <ac:spMkLst>
            <pc:docMk/>
            <pc:sldMk cId="2196007927" sldId="1399"/>
            <ac:spMk id="48" creationId="{2A924633-D274-EE4E-A3CD-F51B7E83ADAB}"/>
          </ac:spMkLst>
        </pc:spChg>
        <pc:spChg chg="mod">
          <ac:chgData name="Dina Zhanibekova" userId="7f5429faef2cd498" providerId="LiveId" clId="{12DFA05D-CFCB-0247-9D1B-E6FD9FB33305}" dt="2020-05-22T11:07:43.722" v="6227" actId="20577"/>
          <ac:spMkLst>
            <pc:docMk/>
            <pc:sldMk cId="2196007927" sldId="1399"/>
            <ac:spMk id="125" creationId="{7530387D-2B9A-4D17-9FCE-3D220BBC3852}"/>
          </ac:spMkLst>
        </pc:spChg>
        <pc:spChg chg="mod">
          <ac:chgData name="Dina Zhanibekova" userId="7f5429faef2cd498" providerId="LiveId" clId="{12DFA05D-CFCB-0247-9D1B-E6FD9FB33305}" dt="2020-05-22T11:06:59.222" v="6175" actId="14100"/>
          <ac:spMkLst>
            <pc:docMk/>
            <pc:sldMk cId="2196007927" sldId="1399"/>
            <ac:spMk id="138" creationId="{16A1735A-CA88-2A4E-AB66-3ABEC6DF09F1}"/>
          </ac:spMkLst>
        </pc:spChg>
        <pc:spChg chg="mod">
          <ac:chgData name="Dina Zhanibekova" userId="7f5429faef2cd498" providerId="LiveId" clId="{12DFA05D-CFCB-0247-9D1B-E6FD9FB33305}" dt="2020-05-22T11:07:11.092" v="6177" actId="14100"/>
          <ac:spMkLst>
            <pc:docMk/>
            <pc:sldMk cId="2196007927" sldId="1399"/>
            <ac:spMk id="139" creationId="{3CF2F6B6-B9E3-6343-9EE3-4FBA3E959298}"/>
          </ac:spMkLst>
        </pc:spChg>
        <pc:spChg chg="mod">
          <ac:chgData name="Dina Zhanibekova" userId="7f5429faef2cd498" providerId="LiveId" clId="{12DFA05D-CFCB-0247-9D1B-E6FD9FB33305}" dt="2020-05-22T11:08:28.903" v="6258" actId="20577"/>
          <ac:spMkLst>
            <pc:docMk/>
            <pc:sldMk cId="2196007927" sldId="1399"/>
            <ac:spMk id="141" creationId="{456C39D3-9BF1-CA45-80FC-A5E62BDD3073}"/>
          </ac:spMkLst>
        </pc:spChg>
        <pc:spChg chg="mod">
          <ac:chgData name="Dina Zhanibekova" userId="7f5429faef2cd498" providerId="LiveId" clId="{12DFA05D-CFCB-0247-9D1B-E6FD9FB33305}" dt="2020-05-22T08:17:14.110" v="5118" actId="1035"/>
          <ac:spMkLst>
            <pc:docMk/>
            <pc:sldMk cId="2196007927" sldId="1399"/>
            <ac:spMk id="210" creationId="{C37419DE-1A48-AF48-AC73-F944B4980251}"/>
          </ac:spMkLst>
        </pc:spChg>
        <pc:spChg chg="mod">
          <ac:chgData name="Dina Zhanibekova" userId="7f5429faef2cd498" providerId="LiveId" clId="{12DFA05D-CFCB-0247-9D1B-E6FD9FB33305}" dt="2020-05-22T08:17:14.110" v="5118" actId="1035"/>
          <ac:spMkLst>
            <pc:docMk/>
            <pc:sldMk cId="2196007927" sldId="1399"/>
            <ac:spMk id="216" creationId="{0DCBC548-EE29-E84E-AAD6-0622C5207351}"/>
          </ac:spMkLst>
        </pc:spChg>
        <pc:spChg chg="del">
          <ac:chgData name="Dina Zhanibekova" userId="7f5429faef2cd498" providerId="LiveId" clId="{12DFA05D-CFCB-0247-9D1B-E6FD9FB33305}" dt="2020-05-22T08:16:49.216" v="5091" actId="478"/>
          <ac:spMkLst>
            <pc:docMk/>
            <pc:sldMk cId="2196007927" sldId="1399"/>
            <ac:spMk id="243" creationId="{1CDE0F58-E497-954B-9977-EE00A8B36AB9}"/>
          </ac:spMkLst>
        </pc:spChg>
        <pc:graphicFrameChg chg="add del mod">
          <ac:chgData name="Dina Zhanibekova" userId="7f5429faef2cd498" providerId="LiveId" clId="{12DFA05D-CFCB-0247-9D1B-E6FD9FB33305}" dt="2020-05-22T07:57:20.136" v="4635" actId="478"/>
          <ac:graphicFrameMkLst>
            <pc:docMk/>
            <pc:sldMk cId="2196007927" sldId="1399"/>
            <ac:graphicFrameMk id="16" creationId="{E4FC886A-ED41-FB48-846E-7F257289F29C}"/>
          </ac:graphicFrameMkLst>
        </pc:graphicFrameChg>
        <pc:graphicFrameChg chg="add del mod">
          <ac:chgData name="Dina Zhanibekova" userId="7f5429faef2cd498" providerId="LiveId" clId="{12DFA05D-CFCB-0247-9D1B-E6FD9FB33305}" dt="2020-05-22T07:59:12.038" v="4645" actId="478"/>
          <ac:graphicFrameMkLst>
            <pc:docMk/>
            <pc:sldMk cId="2196007927" sldId="1399"/>
            <ac:graphicFrameMk id="17" creationId="{E4FC886A-ED41-FB48-846E-7F257289F29C}"/>
          </ac:graphicFrameMkLst>
        </pc:graphicFrameChg>
        <pc:graphicFrameChg chg="add mod">
          <ac:chgData name="Dina Zhanibekova" userId="7f5429faef2cd498" providerId="LiveId" clId="{12DFA05D-CFCB-0247-9D1B-E6FD9FB33305}" dt="2020-05-22T11:07:03.325" v="6176" actId="14100"/>
          <ac:graphicFrameMkLst>
            <pc:docMk/>
            <pc:sldMk cId="2196007927" sldId="1399"/>
            <ac:graphicFrameMk id="18" creationId="{E4FC886A-ED41-FB48-846E-7F257289F29C}"/>
          </ac:graphicFrameMkLst>
        </pc:graphicFrameChg>
        <pc:graphicFrameChg chg="del">
          <ac:chgData name="Dina Zhanibekova" userId="7f5429faef2cd498" providerId="LiveId" clId="{12DFA05D-CFCB-0247-9D1B-E6FD9FB33305}" dt="2020-05-22T07:28:29.971" v="4596" actId="478"/>
          <ac:graphicFrameMkLst>
            <pc:docMk/>
            <pc:sldMk cId="2196007927" sldId="1399"/>
            <ac:graphicFrameMk id="24" creationId="{832BAA14-EFBC-BF4B-9E2B-BE8C6840699F}"/>
          </ac:graphicFrameMkLst>
        </pc:graphicFrameChg>
      </pc:sldChg>
      <pc:sldChg chg="add del">
        <pc:chgData name="Dina Zhanibekova" userId="7f5429faef2cd498" providerId="LiveId" clId="{12DFA05D-CFCB-0247-9D1B-E6FD9FB33305}" dt="2020-05-22T10:13:51.994" v="5783" actId="2696"/>
        <pc:sldMkLst>
          <pc:docMk/>
          <pc:sldMk cId="3053287660" sldId="1400"/>
        </pc:sldMkLst>
      </pc:sldChg>
      <pc:sldChg chg="add del">
        <pc:chgData name="Dina Zhanibekova" userId="7f5429faef2cd498" providerId="LiveId" clId="{12DFA05D-CFCB-0247-9D1B-E6FD9FB33305}" dt="2020-05-21T06:26:08.006" v="630" actId="2696"/>
        <pc:sldMkLst>
          <pc:docMk/>
          <pc:sldMk cId="460758919" sldId="1621"/>
        </pc:sldMkLst>
      </pc:sldChg>
      <pc:sldMasterChg chg="del delSldLayout">
        <pc:chgData name="Dina Zhanibekova" userId="7f5429faef2cd498" providerId="LiveId" clId="{12DFA05D-CFCB-0247-9D1B-E6FD9FB33305}" dt="2020-05-22T05:34:04.615" v="3414" actId="2696"/>
        <pc:sldMasterMkLst>
          <pc:docMk/>
          <pc:sldMasterMk cId="3957867989" sldId="2147483710"/>
        </pc:sldMasterMkLst>
        <pc:sldLayoutChg chg="del">
          <pc:chgData name="Dina Zhanibekova" userId="7f5429faef2cd498" providerId="LiveId" clId="{12DFA05D-CFCB-0247-9D1B-E6FD9FB33305}" dt="2020-05-22T05:34:04.569" v="3403" actId="2696"/>
          <pc:sldLayoutMkLst>
            <pc:docMk/>
            <pc:sldMasterMk cId="3957867989" sldId="2147483710"/>
            <pc:sldLayoutMk cId="575949308" sldId="2147483711"/>
          </pc:sldLayoutMkLst>
        </pc:sldLayoutChg>
        <pc:sldLayoutChg chg="del">
          <pc:chgData name="Dina Zhanibekova" userId="7f5429faef2cd498" providerId="LiveId" clId="{12DFA05D-CFCB-0247-9D1B-E6FD9FB33305}" dt="2020-05-22T05:34:04.573" v="3404" actId="2696"/>
          <pc:sldLayoutMkLst>
            <pc:docMk/>
            <pc:sldMasterMk cId="3957867989" sldId="2147483710"/>
            <pc:sldLayoutMk cId="4167239153" sldId="2147483712"/>
          </pc:sldLayoutMkLst>
        </pc:sldLayoutChg>
        <pc:sldLayoutChg chg="del">
          <pc:chgData name="Dina Zhanibekova" userId="7f5429faef2cd498" providerId="LiveId" clId="{12DFA05D-CFCB-0247-9D1B-E6FD9FB33305}" dt="2020-05-22T05:34:04.577" v="3405" actId="2696"/>
          <pc:sldLayoutMkLst>
            <pc:docMk/>
            <pc:sldMasterMk cId="3957867989" sldId="2147483710"/>
            <pc:sldLayoutMk cId="3893526085" sldId="2147483713"/>
          </pc:sldLayoutMkLst>
        </pc:sldLayoutChg>
        <pc:sldLayoutChg chg="del">
          <pc:chgData name="Dina Zhanibekova" userId="7f5429faef2cd498" providerId="LiveId" clId="{12DFA05D-CFCB-0247-9D1B-E6FD9FB33305}" dt="2020-05-22T05:34:04.582" v="3406" actId="2696"/>
          <pc:sldLayoutMkLst>
            <pc:docMk/>
            <pc:sldMasterMk cId="3957867989" sldId="2147483710"/>
            <pc:sldLayoutMk cId="2665851069" sldId="2147483714"/>
          </pc:sldLayoutMkLst>
        </pc:sldLayoutChg>
        <pc:sldLayoutChg chg="del">
          <pc:chgData name="Dina Zhanibekova" userId="7f5429faef2cd498" providerId="LiveId" clId="{12DFA05D-CFCB-0247-9D1B-E6FD9FB33305}" dt="2020-05-22T05:34:04.586" v="3407" actId="2696"/>
          <pc:sldLayoutMkLst>
            <pc:docMk/>
            <pc:sldMasterMk cId="3957867989" sldId="2147483710"/>
            <pc:sldLayoutMk cId="3358403752" sldId="2147483715"/>
          </pc:sldLayoutMkLst>
        </pc:sldLayoutChg>
        <pc:sldLayoutChg chg="del">
          <pc:chgData name="Dina Zhanibekova" userId="7f5429faef2cd498" providerId="LiveId" clId="{12DFA05D-CFCB-0247-9D1B-E6FD9FB33305}" dt="2020-05-22T05:34:04.590" v="3408" actId="2696"/>
          <pc:sldLayoutMkLst>
            <pc:docMk/>
            <pc:sldMasterMk cId="3957867989" sldId="2147483710"/>
            <pc:sldLayoutMk cId="3043752742" sldId="2147483716"/>
          </pc:sldLayoutMkLst>
        </pc:sldLayoutChg>
        <pc:sldLayoutChg chg="del">
          <pc:chgData name="Dina Zhanibekova" userId="7f5429faef2cd498" providerId="LiveId" clId="{12DFA05D-CFCB-0247-9D1B-E6FD9FB33305}" dt="2020-05-22T05:34:04.594" v="3409" actId="2696"/>
          <pc:sldLayoutMkLst>
            <pc:docMk/>
            <pc:sldMasterMk cId="3957867989" sldId="2147483710"/>
            <pc:sldLayoutMk cId="2719088810" sldId="2147483717"/>
          </pc:sldLayoutMkLst>
        </pc:sldLayoutChg>
        <pc:sldLayoutChg chg="del">
          <pc:chgData name="Dina Zhanibekova" userId="7f5429faef2cd498" providerId="LiveId" clId="{12DFA05D-CFCB-0247-9D1B-E6FD9FB33305}" dt="2020-05-22T05:34:04.598" v="3410" actId="2696"/>
          <pc:sldLayoutMkLst>
            <pc:docMk/>
            <pc:sldMasterMk cId="3957867989" sldId="2147483710"/>
            <pc:sldLayoutMk cId="3196032222" sldId="2147483718"/>
          </pc:sldLayoutMkLst>
        </pc:sldLayoutChg>
        <pc:sldLayoutChg chg="del">
          <pc:chgData name="Dina Zhanibekova" userId="7f5429faef2cd498" providerId="LiveId" clId="{12DFA05D-CFCB-0247-9D1B-E6FD9FB33305}" dt="2020-05-22T05:34:04.602" v="3411" actId="2696"/>
          <pc:sldLayoutMkLst>
            <pc:docMk/>
            <pc:sldMasterMk cId="3957867989" sldId="2147483710"/>
            <pc:sldLayoutMk cId="193512503" sldId="2147483719"/>
          </pc:sldLayoutMkLst>
        </pc:sldLayoutChg>
        <pc:sldLayoutChg chg="del">
          <pc:chgData name="Dina Zhanibekova" userId="7f5429faef2cd498" providerId="LiveId" clId="{12DFA05D-CFCB-0247-9D1B-E6FD9FB33305}" dt="2020-05-22T05:34:04.606" v="3412" actId="2696"/>
          <pc:sldLayoutMkLst>
            <pc:docMk/>
            <pc:sldMasterMk cId="3957867989" sldId="2147483710"/>
            <pc:sldLayoutMk cId="304013532" sldId="2147483720"/>
          </pc:sldLayoutMkLst>
        </pc:sldLayoutChg>
        <pc:sldLayoutChg chg="del">
          <pc:chgData name="Dina Zhanibekova" userId="7f5429faef2cd498" providerId="LiveId" clId="{12DFA05D-CFCB-0247-9D1B-E6FD9FB33305}" dt="2020-05-22T05:34:04.610" v="3413" actId="2696"/>
          <pc:sldLayoutMkLst>
            <pc:docMk/>
            <pc:sldMasterMk cId="3957867989" sldId="2147483710"/>
            <pc:sldLayoutMk cId="2544954073" sldId="214748372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280" cy="498634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120" y="1"/>
            <a:ext cx="2972280" cy="498634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r">
              <a:defRPr sz="1200"/>
            </a:lvl1pPr>
          </a:lstStyle>
          <a:p>
            <a:fld id="{1B0A9AD6-653A-489F-88C8-7069C6B12BDA}" type="datetimeFigureOut">
              <a:rPr lang="ru-RU" smtClean="0"/>
              <a:pPr/>
              <a:t>03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42" tIns="45871" rIns="91742" bIns="4587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6281" y="4787842"/>
            <a:ext cx="5485439" cy="3916025"/>
          </a:xfrm>
          <a:prstGeom prst="rect">
            <a:avLst/>
          </a:prstGeom>
        </p:spPr>
        <p:txBody>
          <a:bodyPr vert="horz" lIns="91742" tIns="45871" rIns="91742" bIns="4587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641"/>
            <a:ext cx="2972280" cy="4986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120" y="9448641"/>
            <a:ext cx="2972280" cy="4986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r">
              <a:defRPr sz="1200"/>
            </a:lvl1pPr>
          </a:lstStyle>
          <a:p>
            <a:fld id="{9DCF7589-570E-4CE9-BCCE-7D7A5488DD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8413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7418">
              <a:defRPr/>
            </a:pPr>
            <a:fld id="{DC763595-D72B-4628-9D3D-B31578E54210}" type="slidenum">
              <a:rPr lang="ru-RU">
                <a:solidFill>
                  <a:prstClr val="black"/>
                </a:solidFill>
                <a:latin typeface="Calibri"/>
              </a:rPr>
              <a:pPr defTabSz="917418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8972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2" Type="http://schemas.openxmlformats.org/officeDocument/2006/relationships/tags" Target="../tags/tag5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7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4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1.emf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2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Relationship Id="rId1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2" Type="http://schemas.openxmlformats.org/officeDocument/2006/relationships/tags" Target="../tags/tag12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5" Type="http://schemas.openxmlformats.org/officeDocument/2006/relationships/tags" Target="../tags/tag129.xml"/><Relationship Id="rId15" Type="http://schemas.openxmlformats.org/officeDocument/2006/relationships/oleObject" Target="../embeddings/oleObject18.bin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5" Type="http://schemas.openxmlformats.org/officeDocument/2006/relationships/tags" Target="../tags/tag142.xml"/><Relationship Id="rId4" Type="http://schemas.openxmlformats.org/officeDocument/2006/relationships/tags" Target="../tags/tag14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11" Type="http://schemas.openxmlformats.org/officeDocument/2006/relationships/oleObject" Target="../embeddings/oleObject5.bin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6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7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/>
        </p:nvSpPr>
        <p:spPr bwMode="auto">
          <a:xfrm>
            <a:off x="4972475" y="3024824"/>
            <a:ext cx="12096327" cy="3527107"/>
          </a:xfrm>
          <a:prstGeom prst="rect">
            <a:avLst/>
          </a:prstGeom>
          <a:solidFill>
            <a:srgbClr val="37609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644800" y="3527999"/>
            <a:ext cx="10752000" cy="1512000"/>
          </a:xfrm>
          <a:prstGeom prst="rect">
            <a:avLst/>
          </a:prstGeom>
        </p:spPr>
        <p:txBody>
          <a:bodyPr/>
          <a:lstStyle>
            <a:lvl1pPr>
              <a:defRPr sz="4480" b="0">
                <a:solidFill>
                  <a:schemeClr val="bg1"/>
                </a:solidFill>
              </a:defRPr>
            </a:lvl1pPr>
          </a:lstStyle>
          <a:p>
            <a:r>
              <a:rPr lang="ru-RU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00" y="5745600"/>
            <a:ext cx="6720000" cy="302400"/>
          </a:xfrm>
        </p:spPr>
        <p:txBody>
          <a:bodyPr lIns="0" tIns="0" rIns="0" bIns="0" anchor="b" anchorCtr="0"/>
          <a:lstStyle>
            <a:lvl1pPr marL="0" indent="0" algn="l">
              <a:buNone/>
              <a:defRPr sz="2613">
                <a:solidFill>
                  <a:schemeClr val="bg1"/>
                </a:solidFill>
              </a:defRPr>
            </a:lvl1pPr>
            <a:lvl2pPr marL="853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706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560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41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120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973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82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3104000" y="5745600"/>
            <a:ext cx="3360000" cy="302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613">
                <a:solidFill>
                  <a:schemeClr val="bg1"/>
                </a:solidFill>
              </a:defRPr>
            </a:lvl1pPr>
          </a:lstStyle>
          <a:p>
            <a:fld id="{62F1BEEF-A4A7-479D-8465-9115149B4495}" type="datetime4">
              <a:rPr lang="ru-RU" smtClean="0">
                <a:solidFill>
                  <a:srgbClr val="FFFFFF"/>
                </a:solidFill>
              </a:rPr>
              <a:pPr/>
              <a:t>3 июня 2021 г.</a:t>
            </a:fld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1" name="Group 7"/>
          <p:cNvGrpSpPr>
            <a:grpSpLocks/>
          </p:cNvGrpSpPr>
          <p:nvPr userDrawn="1"/>
        </p:nvGrpSpPr>
        <p:grpSpPr bwMode="auto">
          <a:xfrm>
            <a:off x="2" y="1008001"/>
            <a:ext cx="3360420" cy="1006792"/>
            <a:chOff x="201" y="819"/>
            <a:chExt cx="1094" cy="413"/>
          </a:xfrm>
        </p:grpSpPr>
        <p:sp>
          <p:nvSpPr>
            <p:cNvPr id="1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rgbClr val="7A1600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</p:grpSp>
      <p:sp>
        <p:nvSpPr>
          <p:cNvPr id="34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3036802" y="7560000"/>
            <a:ext cx="3360420" cy="302260"/>
          </a:xfrm>
        </p:spPr>
        <p:txBody>
          <a:bodyPr lIns="0" tIns="0" rIns="0" bIns="0" anchor="b" anchorCtr="0"/>
          <a:lstStyle>
            <a:lvl1pPr algn="r">
              <a:defRPr sz="2613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Метка</a:t>
            </a:r>
          </a:p>
        </p:txBody>
      </p:sp>
      <p:pic>
        <p:nvPicPr>
          <p:cNvPr id="30" name="Picture 3" descr="C:\Users\popov\Desktop\airi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7752" y="463871"/>
            <a:ext cx="1659467" cy="206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 descr="logo_strategy_KAZ_2.png"/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3829879" y="1053807"/>
            <a:ext cx="5652056" cy="887048"/>
          </a:xfrm>
          <a:prstGeom prst="rect">
            <a:avLst/>
          </a:prstGeom>
        </p:spPr>
      </p:pic>
      <p:pic>
        <p:nvPicPr>
          <p:cNvPr id="32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5875" y="741040"/>
            <a:ext cx="1717939" cy="151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354" name="Picture 466"/>
          <p:cNvPicPr>
            <a:picLocks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23930"/>
            <a:ext cx="4704000" cy="352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917566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468208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8208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8804064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8804064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68207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8805393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236721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672000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82697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11493393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72000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082697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11493393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672000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6082697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11493393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137528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43" descr="http://img1.liveinternet.ru/images/attach/b/2/0/567/567082_klaster.jpg"/>
          <p:cNvPicPr>
            <a:picLocks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0" t="7666" r="22561" b="6364"/>
          <a:stretch/>
        </p:blipFill>
        <p:spPr bwMode="auto">
          <a:xfrm>
            <a:off x="0" y="3024000"/>
            <a:ext cx="4704000" cy="35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34"/>
          <p:cNvSpPr>
            <a:spLocks noChangeArrowheads="1"/>
          </p:cNvSpPr>
          <p:nvPr/>
        </p:nvSpPr>
        <p:spPr bwMode="auto">
          <a:xfrm>
            <a:off x="4972475" y="3024824"/>
            <a:ext cx="12096327" cy="3527107"/>
          </a:xfrm>
          <a:prstGeom prst="rect">
            <a:avLst/>
          </a:prstGeom>
          <a:solidFill>
            <a:srgbClr val="37609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644800" y="3527999"/>
            <a:ext cx="10752000" cy="1512000"/>
          </a:xfrm>
          <a:prstGeom prst="rect">
            <a:avLst/>
          </a:prstGeom>
        </p:spPr>
        <p:txBody>
          <a:bodyPr/>
          <a:lstStyle>
            <a:lvl1pPr>
              <a:defRPr sz="4480" b="0">
                <a:solidFill>
                  <a:schemeClr val="bg1"/>
                </a:solidFill>
              </a:defRPr>
            </a:lvl1pPr>
          </a:lstStyle>
          <a:p>
            <a:r>
              <a:rPr lang="ru-RU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00" y="5745600"/>
            <a:ext cx="6720000" cy="302400"/>
          </a:xfrm>
        </p:spPr>
        <p:txBody>
          <a:bodyPr lIns="0" tIns="0" rIns="0" bIns="0" anchor="b" anchorCtr="0"/>
          <a:lstStyle>
            <a:lvl1pPr marL="0" indent="0" algn="l">
              <a:buNone/>
              <a:defRPr sz="2613">
                <a:solidFill>
                  <a:schemeClr val="bg1"/>
                </a:solidFill>
              </a:defRPr>
            </a:lvl1pPr>
            <a:lvl2pPr marL="853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706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560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413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120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973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82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3104000" y="5745600"/>
            <a:ext cx="3360000" cy="302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2613">
                <a:solidFill>
                  <a:schemeClr val="bg1"/>
                </a:solidFill>
              </a:defRPr>
            </a:lvl1pPr>
          </a:lstStyle>
          <a:p>
            <a:fld id="{62F1BEEF-A4A7-479D-8465-9115149B4495}" type="datetime4">
              <a:rPr lang="ru-RU" smtClean="0">
                <a:solidFill>
                  <a:srgbClr val="FFFFFF"/>
                </a:solidFill>
              </a:rPr>
              <a:pPr/>
              <a:t>3 июня 2021 г.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13036802" y="7560000"/>
            <a:ext cx="3360420" cy="302260"/>
          </a:xfrm>
        </p:spPr>
        <p:txBody>
          <a:bodyPr lIns="0" tIns="0" rIns="0" bIns="0" anchor="b" anchorCtr="0"/>
          <a:lstStyle>
            <a:lvl1pPr algn="r">
              <a:defRPr sz="2613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Метка</a:t>
            </a:r>
          </a:p>
        </p:txBody>
      </p:sp>
      <p:grpSp>
        <p:nvGrpSpPr>
          <p:cNvPr id="9" name="Group 7"/>
          <p:cNvGrpSpPr>
            <a:grpSpLocks/>
          </p:cNvGrpSpPr>
          <p:nvPr userDrawn="1"/>
        </p:nvGrpSpPr>
        <p:grpSpPr bwMode="auto">
          <a:xfrm>
            <a:off x="2" y="1008001"/>
            <a:ext cx="3360420" cy="1006792"/>
            <a:chOff x="201" y="819"/>
            <a:chExt cx="1094" cy="413"/>
          </a:xfrm>
        </p:grpSpPr>
        <p:sp>
          <p:nvSpPr>
            <p:cNvPr id="11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rgbClr val="7A1600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3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4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5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6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7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8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19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0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1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2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3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4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5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6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7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  <p:sp>
          <p:nvSpPr>
            <p:cNvPr id="28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sz="3360">
                <a:solidFill>
                  <a:srgbClr val="000000"/>
                </a:solidFill>
              </a:endParaRPr>
            </a:p>
          </p:txBody>
        </p:sp>
      </p:grpSp>
      <p:pic>
        <p:nvPicPr>
          <p:cNvPr id="29" name="Picture 3" descr="C:\Users\popov\Desktop\airi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7752" y="463871"/>
            <a:ext cx="1659467" cy="206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29" descr="logo_strategy_KAZ_2.png"/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3829879" y="1053807"/>
            <a:ext cx="5652056" cy="887048"/>
          </a:xfrm>
          <a:prstGeom prst="rect">
            <a:avLst/>
          </a:prstGeom>
        </p:spPr>
      </p:pic>
      <p:pic>
        <p:nvPicPr>
          <p:cNvPr id="31" name="Picture 2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5875" y="741040"/>
            <a:ext cx="1717939" cy="1512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304650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278039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468207" y="1764001"/>
            <a:ext cx="16128000" cy="7056437"/>
          </a:xfrm>
        </p:spPr>
        <p:txBody>
          <a:bodyPr/>
          <a:lstStyle>
            <a:lvl1pPr>
              <a:spcBef>
                <a:spcPts val="1120"/>
              </a:spcBef>
              <a:defRPr sz="2613"/>
            </a:lvl1pPr>
            <a:lvl2pPr>
              <a:spcBef>
                <a:spcPts val="1120"/>
              </a:spcBef>
              <a:defRPr sz="2613"/>
            </a:lvl2pPr>
            <a:lvl3pPr>
              <a:defRPr sz="2613"/>
            </a:lvl3pPr>
            <a:lvl4pPr>
              <a:defRPr sz="2613"/>
            </a:lvl4pPr>
            <a:lvl5pPr>
              <a:defRPr sz="2613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640913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1814400" y="2368800"/>
            <a:ext cx="13440000" cy="604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2987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2486400" y="1764001"/>
            <a:ext cx="12096000" cy="7056437"/>
          </a:xfrm>
        </p:spPr>
        <p:txBody>
          <a:bodyPr/>
          <a:lstStyle>
            <a:lvl1pPr>
              <a:spcBef>
                <a:spcPts val="3360"/>
              </a:spcBef>
              <a:defRPr sz="2987"/>
            </a:lvl1pPr>
            <a:lvl2pPr marL="0" indent="0">
              <a:spcBef>
                <a:spcPts val="3360"/>
              </a:spcBef>
              <a:buNone/>
              <a:defRPr sz="2987" b="1">
                <a:solidFill>
                  <a:schemeClr val="bg1"/>
                </a:solidFill>
              </a:defRPr>
            </a:lvl2pPr>
            <a:lvl3pPr>
              <a:defRPr sz="2987"/>
            </a:lvl3pPr>
            <a:lvl4pPr>
              <a:defRPr sz="2987"/>
            </a:lvl4pPr>
            <a:lvl5pPr>
              <a:defRPr sz="2987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6846651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468208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8804065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8804064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4930638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468205" y="2368801"/>
            <a:ext cx="10483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114912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68207" y="1764000"/>
            <a:ext cx="10483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114912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7259067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8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804064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8804064" y="6099117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8805393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354441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8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68208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8804064" y="2368800"/>
            <a:ext cx="7796531" cy="64512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68207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234179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0819378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7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9808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114912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59808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114912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0849679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468208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68208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8804064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8804064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68207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8805393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848704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672000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82697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11493393" y="1915200"/>
            <a:ext cx="5107200" cy="907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72000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082697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11493393" y="2973600"/>
            <a:ext cx="5107200" cy="45360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672000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6082697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11493393" y="7660800"/>
            <a:ext cx="5107200" cy="11592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6879747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3600" y="1571308"/>
            <a:ext cx="1280160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33600" y="5042853"/>
            <a:ext cx="128016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84657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5529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590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590" y="6425249"/>
            <a:ext cx="1472184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58596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3480" y="2555875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41080" y="2555875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5745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3" y="511176"/>
            <a:ext cx="14721840" cy="18557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5704" y="2353628"/>
            <a:ext cx="7220902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641080" y="2353628"/>
            <a:ext cx="7256463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641080" y="3507105"/>
            <a:ext cx="7256463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3797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4808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126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468207" y="1764001"/>
            <a:ext cx="16128000" cy="7056437"/>
          </a:xfrm>
        </p:spPr>
        <p:txBody>
          <a:bodyPr/>
          <a:lstStyle>
            <a:lvl1pPr>
              <a:spcBef>
                <a:spcPts val="1120"/>
              </a:spcBef>
              <a:defRPr sz="2613"/>
            </a:lvl1pPr>
            <a:lvl2pPr>
              <a:spcBef>
                <a:spcPts val="1120"/>
              </a:spcBef>
              <a:defRPr sz="2613"/>
            </a:lvl2pPr>
            <a:lvl3pPr>
              <a:defRPr sz="2613"/>
            </a:lvl3pPr>
            <a:lvl4pPr>
              <a:defRPr sz="2613"/>
            </a:lvl4pPr>
            <a:lvl5pPr>
              <a:defRPr sz="2613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7173648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6463" y="1382396"/>
            <a:ext cx="864108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29468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256463" y="1382396"/>
            <a:ext cx="864108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04680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3888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214860" y="511175"/>
            <a:ext cx="3680460" cy="81365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3480" y="511175"/>
            <a:ext cx="10828020" cy="813657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7AF5A-A9B3-407F-9BB1-0052B3BEE0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8489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2946" y="475320"/>
            <a:ext cx="16202476" cy="101394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53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55851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1814400" y="2368800"/>
            <a:ext cx="13440000" cy="604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2987">
                <a:solidFill>
                  <a:schemeClr val="tx2"/>
                </a:solidFill>
              </a:defRPr>
            </a:lvl1pPr>
          </a:lstStyle>
          <a:p>
            <a:pPr lvl="0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2486400" y="1764001"/>
            <a:ext cx="12096000" cy="7056437"/>
          </a:xfrm>
        </p:spPr>
        <p:txBody>
          <a:bodyPr/>
          <a:lstStyle>
            <a:lvl1pPr>
              <a:spcBef>
                <a:spcPts val="3360"/>
              </a:spcBef>
              <a:defRPr sz="2987"/>
            </a:lvl1pPr>
            <a:lvl2pPr marL="0" indent="0">
              <a:spcBef>
                <a:spcPts val="3360"/>
              </a:spcBef>
              <a:buNone/>
              <a:defRPr sz="2987" b="1">
                <a:solidFill>
                  <a:schemeClr val="bg1"/>
                </a:solidFill>
              </a:defRPr>
            </a:lvl2pPr>
            <a:lvl3pPr>
              <a:defRPr sz="2987"/>
            </a:lvl3pPr>
            <a:lvl4pPr>
              <a:defRPr sz="2987"/>
            </a:lvl4pPr>
            <a:lvl5pPr>
              <a:defRPr sz="2987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59948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468208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8804065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8804064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725708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468205" y="2368801"/>
            <a:ext cx="10483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114912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68207" y="1764000"/>
            <a:ext cx="10483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114912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237015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8" y="2368801"/>
            <a:ext cx="7796531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8804064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8804064" y="6099117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8805393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938079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8" y="23688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68208" y="6098400"/>
            <a:ext cx="7796531" cy="27216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8804064" y="2368800"/>
            <a:ext cx="7796531" cy="6451200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8805393" y="17640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68207" y="5493600"/>
            <a:ext cx="7795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374648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68207" y="302260"/>
            <a:ext cx="16132387" cy="30226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68207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9808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11491200" y="2368801"/>
            <a:ext cx="5107200" cy="6451917"/>
          </a:xfrm>
          <a:ln>
            <a:solidFill>
              <a:schemeClr val="bg2"/>
            </a:solidFill>
          </a:ln>
        </p:spPr>
        <p:txBody>
          <a:bodyPr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68207" y="8872220"/>
            <a:ext cx="16128000" cy="403200"/>
          </a:xfrm>
        </p:spPr>
        <p:txBody>
          <a:bodyPr lIns="0" tIns="0" rIns="0" bIns="0" anchor="b" anchorCtr="0"/>
          <a:lstStyle>
            <a:lvl1pPr>
              <a:spcBef>
                <a:spcPts val="560"/>
              </a:spcBef>
              <a:defRPr sz="1493" baseline="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468207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59808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11491200" y="1764000"/>
            <a:ext cx="5107200" cy="60452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224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706837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262870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7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16262773" y="9298940"/>
            <a:ext cx="806027" cy="30226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178797" tIns="89399" rIns="178797" bIns="89399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1" y="9298940"/>
            <a:ext cx="16129424" cy="30226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178797" tIns="89399" rIns="178797" bIns="89399" anchor="ctr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0" y="302260"/>
            <a:ext cx="403013" cy="302562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0" y="604520"/>
            <a:ext cx="403013" cy="30226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8207" y="1764002"/>
            <a:ext cx="16128000" cy="7056435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68207" y="604520"/>
            <a:ext cx="16128000" cy="70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0400" y="9363895"/>
            <a:ext cx="6720000" cy="1723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493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403013" y="604520"/>
            <a:ext cx="166657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6479802" y="9309804"/>
            <a:ext cx="293349" cy="287323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170683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867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7068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67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9523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1706837" rtl="0" eaLnBrk="1" latinLnBrk="0" hangingPunct="1">
        <a:spcBef>
          <a:spcPct val="0"/>
        </a:spcBef>
        <a:buNone/>
        <a:defRPr sz="336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706837" rtl="0" eaLnBrk="1" latinLnBrk="0" hangingPunct="1">
        <a:spcBef>
          <a:spcPts val="1120"/>
        </a:spcBef>
        <a:buClr>
          <a:schemeClr val="tx2"/>
        </a:buClr>
        <a:buFont typeface="Arial" pitchFamily="34" charset="0"/>
        <a:buNone/>
        <a:defRPr sz="2240" kern="1200">
          <a:solidFill>
            <a:schemeClr val="tx1"/>
          </a:solidFill>
          <a:latin typeface="+mn-lt"/>
          <a:ea typeface="+mn-ea"/>
          <a:cs typeface="+mn-cs"/>
        </a:defRPr>
      </a:lvl1pPr>
      <a:lvl2pPr marL="335992" indent="-335992" algn="l" defTabSz="1706837" rtl="0" eaLnBrk="1" latinLnBrk="0" hangingPunct="1">
        <a:spcBef>
          <a:spcPts val="560"/>
        </a:spcBef>
        <a:buClr>
          <a:schemeClr val="tx2"/>
        </a:buClr>
        <a:buFont typeface="Wingdings" pitchFamily="2" charset="2"/>
        <a:buChar char="§"/>
        <a:defRPr sz="2240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–"/>
        <a:defRPr sz="2240" kern="1200">
          <a:solidFill>
            <a:schemeClr val="tx1"/>
          </a:solidFill>
          <a:latin typeface="+mn-lt"/>
          <a:ea typeface="+mn-ea"/>
          <a:cs typeface="+mn-cs"/>
        </a:defRPr>
      </a:lvl3pPr>
      <a:lvl4pPr marL="1007975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4pPr>
      <a:lvl5pPr marL="1343966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5pPr>
      <a:lvl6pPr marL="4693803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6pPr>
      <a:lvl7pPr marL="5547221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7pPr>
      <a:lvl8pPr marL="6400640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8pPr>
      <a:lvl9pPr marL="7254059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53419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706837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560256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4pPr>
      <a:lvl5pPr marL="3413675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5pPr>
      <a:lvl6pPr marL="4267093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5120512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5973931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6827349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296333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96333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16262773" y="9298940"/>
            <a:ext cx="806027" cy="30226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178797" tIns="89399" rIns="178797" bIns="89399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1" y="9298940"/>
            <a:ext cx="16129424" cy="30226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178797" tIns="89399" rIns="178797" bIns="89399" anchor="ctr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0" y="302260"/>
            <a:ext cx="403013" cy="302562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0" y="604520"/>
            <a:ext cx="403013" cy="30226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sz="3360">
              <a:solidFill>
                <a:srgbClr val="00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8207" y="1764002"/>
            <a:ext cx="16128000" cy="7056435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68207" y="604520"/>
            <a:ext cx="16128000" cy="705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0400" y="9363895"/>
            <a:ext cx="6720000" cy="17235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493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403013" y="604520"/>
            <a:ext cx="166657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6479802" y="9309804"/>
            <a:ext cx="293349" cy="287323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170683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867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70683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67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9993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defTabSz="1706837" rtl="0" eaLnBrk="1" latinLnBrk="0" hangingPunct="1">
        <a:spcBef>
          <a:spcPct val="0"/>
        </a:spcBef>
        <a:buNone/>
        <a:defRPr sz="336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1706837" rtl="0" eaLnBrk="1" latinLnBrk="0" hangingPunct="1">
        <a:spcBef>
          <a:spcPts val="1120"/>
        </a:spcBef>
        <a:buClr>
          <a:schemeClr val="tx2"/>
        </a:buClr>
        <a:buFont typeface="Arial" pitchFamily="34" charset="0"/>
        <a:buNone/>
        <a:defRPr sz="2240" kern="1200">
          <a:solidFill>
            <a:schemeClr val="tx1"/>
          </a:solidFill>
          <a:latin typeface="+mn-lt"/>
          <a:ea typeface="+mn-ea"/>
          <a:cs typeface="+mn-cs"/>
        </a:defRPr>
      </a:lvl1pPr>
      <a:lvl2pPr marL="335992" indent="-335992" algn="l" defTabSz="1706837" rtl="0" eaLnBrk="1" latinLnBrk="0" hangingPunct="1">
        <a:spcBef>
          <a:spcPts val="560"/>
        </a:spcBef>
        <a:buClr>
          <a:schemeClr val="tx2"/>
        </a:buClr>
        <a:buFont typeface="Wingdings" pitchFamily="2" charset="2"/>
        <a:buChar char="§"/>
        <a:defRPr sz="2240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–"/>
        <a:defRPr sz="2240" kern="1200">
          <a:solidFill>
            <a:schemeClr val="tx1"/>
          </a:solidFill>
          <a:latin typeface="+mn-lt"/>
          <a:ea typeface="+mn-ea"/>
          <a:cs typeface="+mn-cs"/>
        </a:defRPr>
      </a:lvl3pPr>
      <a:lvl4pPr marL="1007975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4pPr>
      <a:lvl5pPr marL="1343966" indent="-335992" algn="l" defTabSz="1706837" rtl="0" eaLnBrk="1" latinLnBrk="0" hangingPunct="1">
        <a:spcBef>
          <a:spcPts val="560"/>
        </a:spcBef>
        <a:buClr>
          <a:schemeClr val="tx2"/>
        </a:buClr>
        <a:buFont typeface="Arial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5pPr>
      <a:lvl6pPr marL="4693803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6pPr>
      <a:lvl7pPr marL="5547221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7pPr>
      <a:lvl8pPr marL="6400640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8pPr>
      <a:lvl9pPr marL="7254059" indent="-426709" algn="l" defTabSz="1706837" rtl="0" eaLnBrk="1" latinLnBrk="0" hangingPunct="1">
        <a:spcBef>
          <a:spcPct val="20000"/>
        </a:spcBef>
        <a:buFont typeface="Arial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53419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706837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560256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4pPr>
      <a:lvl5pPr marL="3413675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5pPr>
      <a:lvl6pPr marL="4267093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6pPr>
      <a:lvl7pPr marL="5120512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7pPr>
      <a:lvl8pPr marL="5973931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8pPr>
      <a:lvl9pPr marL="6827349" algn="l" defTabSz="1706837" rtl="0" eaLnBrk="1" latinLnBrk="0" hangingPunct="1">
        <a:defRPr sz="3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3480" y="511176"/>
            <a:ext cx="1472184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3480" y="2555875"/>
            <a:ext cx="1472184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61623-D3F0-4498-A5A7-3FA017390145}" type="datetime1">
              <a:rPr lang="ru-RU" smtClean="0"/>
              <a:pPr/>
              <a:t>03.06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4040" y="8898891"/>
            <a:ext cx="576072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CE1DB6-5B37-484D-AB5D-3C0B21864AE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4358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697" r:id="rId12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9.png"/><Relationship Id="rId5" Type="http://schemas.microsoft.com/office/2007/relationships/hdphoto" Target="../media/hdphoto2.wdp"/><Relationship Id="rId4" Type="http://schemas.openxmlformats.org/officeDocument/2006/relationships/image" Target="../media/image18.png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23D075A3-63CC-4306-92DA-848819FD78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35269" y="1201819"/>
          <a:ext cx="1667" cy="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23D075A3-63CC-4306-92DA-848819FD7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35269" y="1201819"/>
                        <a:ext cx="1667" cy="1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Текст 3"/>
          <p:cNvSpPr txBox="1">
            <a:spLocks/>
          </p:cNvSpPr>
          <p:nvPr/>
        </p:nvSpPr>
        <p:spPr>
          <a:xfrm>
            <a:off x="3109262" y="8200563"/>
            <a:ext cx="12243685" cy="1268280"/>
          </a:xfrm>
          <a:prstGeom prst="rect">
            <a:avLst/>
          </a:prstGeom>
        </p:spPr>
        <p:txBody>
          <a:bodyPr lIns="90515" tIns="45259" rIns="90515" bIns="45259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61803">
              <a:buClr>
                <a:srgbClr val="44546A"/>
              </a:buClr>
              <a:defRPr/>
            </a:pPr>
            <a:endParaRPr lang="ru-RU" sz="336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3733800" y="9785730"/>
            <a:ext cx="9601200" cy="749524"/>
          </a:xfrm>
          <a:prstGeom prst="rect">
            <a:avLst/>
          </a:prstGeom>
        </p:spPr>
        <p:txBody>
          <a:bodyPr lIns="60945" tIns="30475" rIns="60945" bIns="30475"/>
          <a:lstStyle/>
          <a:p>
            <a:pPr algn="ctr" defTabSz="787543">
              <a:defRPr/>
            </a:pPr>
            <a:r>
              <a:rPr lang="ru-RU" sz="2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</a:t>
            </a:r>
            <a:r>
              <a:rPr lang="ru-RU" sz="2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р</a:t>
            </a:r>
            <a:r>
              <a:rPr lang="ru-RU" sz="2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Султан, </a:t>
            </a:r>
          </a:p>
          <a:p>
            <a:pPr algn="ctr" defTabSz="787543">
              <a:defRPr/>
            </a:pPr>
            <a:r>
              <a:rPr lang="ru-RU" sz="2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 2020 год</a:t>
            </a:r>
            <a:endParaRPr lang="ru-RU" sz="21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9" name="Текст 3">
            <a:extLst>
              <a:ext uri="{FF2B5EF4-FFF2-40B4-BE49-F238E27FC236}">
                <a16:creationId xmlns="" xmlns:a16="http://schemas.microsoft.com/office/drawing/2014/main" id="{6282E95F-FA77-4B64-A584-99D7763E98E9}"/>
              </a:ext>
            </a:extLst>
          </p:cNvPr>
          <p:cNvSpPr txBox="1">
            <a:spLocks/>
          </p:cNvSpPr>
          <p:nvPr/>
        </p:nvSpPr>
        <p:spPr>
          <a:xfrm>
            <a:off x="2204320" y="257463"/>
            <a:ext cx="13325179" cy="781453"/>
          </a:xfrm>
          <a:prstGeom prst="rect">
            <a:avLst/>
          </a:prstGeom>
        </p:spPr>
        <p:txBody>
          <a:bodyPr lIns="90515" tIns="45259" rIns="90515" bIns="45259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61803">
              <a:buClr>
                <a:srgbClr val="44546A"/>
              </a:buClr>
              <a:defRPr/>
            </a:pPr>
            <a:r>
              <a:rPr lang="ru-RU" sz="294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ИНДУСТРИИ И ИНФРАСТРУКТУРНОГО РАЗВИТИЯ РЕСПУБЛИКИ КАЗАХСТАН</a:t>
            </a:r>
          </a:p>
        </p:txBody>
      </p:sp>
      <p:cxnSp>
        <p:nvCxnSpPr>
          <p:cNvPr id="13" name="Google Shape;847;p74">
            <a:extLst>
              <a:ext uri="{FF2B5EF4-FFF2-40B4-BE49-F238E27FC236}">
                <a16:creationId xmlns="" xmlns:a16="http://schemas.microsoft.com/office/drawing/2014/main" id="{F116D0AC-BAFA-4F48-8F8A-848592DFC8D7}"/>
              </a:ext>
            </a:extLst>
          </p:cNvPr>
          <p:cNvCxnSpPr/>
          <p:nvPr/>
        </p:nvCxnSpPr>
        <p:spPr>
          <a:xfrm>
            <a:off x="411888" y="1256050"/>
            <a:ext cx="16178521" cy="0"/>
          </a:xfrm>
          <a:prstGeom prst="straightConnector1">
            <a:avLst/>
          </a:prstGeom>
          <a:noFill/>
          <a:ln w="3810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" name="Прямоугольник 12">
            <a:extLst>
              <a:ext uri="{FF2B5EF4-FFF2-40B4-BE49-F238E27FC236}">
                <a16:creationId xmlns="" xmlns:a16="http://schemas.microsoft.com/office/drawing/2014/main" id="{0C64FEC2-C7F5-924D-8389-DCC790EA8A1D}"/>
              </a:ext>
            </a:extLst>
          </p:cNvPr>
          <p:cNvSpPr/>
          <p:nvPr/>
        </p:nvSpPr>
        <p:spPr>
          <a:xfrm>
            <a:off x="0" y="3608797"/>
            <a:ext cx="17068800" cy="249436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803">
              <a:buClr>
                <a:srgbClr val="44546A"/>
              </a:buClr>
              <a:defRPr/>
            </a:pPr>
            <a:r>
              <a:rPr lang="ru-RU" sz="4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газохимическая промышленность</a:t>
            </a:r>
            <a:endParaRPr lang="ru-RU" sz="4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Google Shape;847;p74">
            <a:extLst>
              <a:ext uri="{FF2B5EF4-FFF2-40B4-BE49-F238E27FC236}">
                <a16:creationId xmlns="" xmlns:a16="http://schemas.microsoft.com/office/drawing/2014/main" id="{B23D0E6F-94EB-B141-858C-EDCF253E93F3}"/>
              </a:ext>
            </a:extLst>
          </p:cNvPr>
          <p:cNvCxnSpPr/>
          <p:nvPr/>
        </p:nvCxnSpPr>
        <p:spPr>
          <a:xfrm>
            <a:off x="8616156" y="15675016"/>
            <a:ext cx="16178521" cy="0"/>
          </a:xfrm>
          <a:prstGeom prst="straightConnector1">
            <a:avLst/>
          </a:prstGeom>
          <a:noFill/>
          <a:ln w="7620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27451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847;p74">
            <a:extLst>
              <a:ext uri="{FF2B5EF4-FFF2-40B4-BE49-F238E27FC236}">
                <a16:creationId xmlns="" xmlns:a16="http://schemas.microsoft.com/office/drawing/2014/main" id="{08DC410D-DAFF-1540-A578-A88BA0AD61DC}"/>
              </a:ext>
            </a:extLst>
          </p:cNvPr>
          <p:cNvCxnSpPr/>
          <p:nvPr/>
        </p:nvCxnSpPr>
        <p:spPr>
          <a:xfrm>
            <a:off x="424357" y="832099"/>
            <a:ext cx="16178521" cy="0"/>
          </a:xfrm>
          <a:prstGeom prst="straightConnector1">
            <a:avLst/>
          </a:prstGeom>
          <a:noFill/>
          <a:ln w="5715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Текст 3">
            <a:extLst>
              <a:ext uri="{FF2B5EF4-FFF2-40B4-BE49-F238E27FC236}">
                <a16:creationId xmlns="" xmlns:a16="http://schemas.microsoft.com/office/drawing/2014/main" id="{A83862E7-C692-1547-A9C9-2387E170361D}"/>
              </a:ext>
            </a:extLst>
          </p:cNvPr>
          <p:cNvSpPr txBox="1">
            <a:spLocks/>
          </p:cNvSpPr>
          <p:nvPr/>
        </p:nvSpPr>
        <p:spPr>
          <a:xfrm>
            <a:off x="445139" y="130157"/>
            <a:ext cx="16178521" cy="645829"/>
          </a:xfrm>
          <a:prstGeom prst="rect">
            <a:avLst/>
          </a:prstGeom>
        </p:spPr>
        <p:txBody>
          <a:bodyPr lIns="90515" tIns="45259" rIns="90515" bIns="45259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61803">
              <a:buClr>
                <a:srgbClr val="44546A"/>
              </a:buClr>
              <a:defRPr/>
            </a:pP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ГАЗОХИМИЧЕСКАЯ ПРОМЫШЛЕННОСТЬ за 2020 год 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9F78E4F0-6794-F34F-93DD-6E6C2A4FCC10}"/>
              </a:ext>
            </a:extLst>
          </p:cNvPr>
          <p:cNvSpPr/>
          <p:nvPr/>
        </p:nvSpPr>
        <p:spPr>
          <a:xfrm>
            <a:off x="3522720" y="1079176"/>
            <a:ext cx="1041503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НЕФТЕГАЗОХИМИИ 14% В ХИМИЧЕСКОЙ ПРОМЫШЛЕННОСТИ</a:t>
            </a:r>
            <a:endParaRPr lang="x-none" sz="2800" b="1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979594" y="2019447"/>
            <a:ext cx="0" cy="671815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H="1">
            <a:off x="11845610" y="2019447"/>
            <a:ext cx="40502" cy="671815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-36039" y="1930987"/>
            <a:ext cx="17811399" cy="6042539"/>
            <a:chOff x="-36039" y="1930987"/>
            <a:chExt cx="17811399" cy="6042539"/>
          </a:xfrm>
        </p:grpSpPr>
        <p:sp>
          <p:nvSpPr>
            <p:cNvPr id="24" name="Прямоугольник 23">
              <a:extLst>
                <a:ext uri="{FF2B5EF4-FFF2-40B4-BE49-F238E27FC236}">
                  <a16:creationId xmlns="" xmlns:a16="http://schemas.microsoft.com/office/drawing/2014/main" id="{D3DE6E75-2635-9148-B6A8-0C62CD67D698}"/>
                </a:ext>
              </a:extLst>
            </p:cNvPr>
            <p:cNvSpPr/>
            <p:nvPr/>
          </p:nvSpPr>
          <p:spPr>
            <a:xfrm>
              <a:off x="203201" y="2247014"/>
              <a:ext cx="6162474" cy="584775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dash"/>
            </a:ln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Объем производства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11098372" y="5438778"/>
              <a:ext cx="6640951" cy="14003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туральном </a:t>
              </a: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600" b="1" dirty="0" smtClean="0">
                  <a:solidFill>
                    <a:srgbClr val="C00000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690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млн.долл.США</a:t>
              </a:r>
              <a:endParaRPr lang="ru-RU" sz="32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endParaRPr>
            </a:p>
            <a:p>
              <a:pPr indent="19050" algn="ctr">
                <a:spcAft>
                  <a:spcPts val="0"/>
                </a:spcAft>
              </a:pP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</a:t>
              </a: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ост к 2010 году в </a:t>
              </a: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1,5 раз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0" y="5409084"/>
              <a:ext cx="6640951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</a:t>
              </a: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стоимостном  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66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млрд.тенге</a:t>
              </a:r>
              <a:endParaRPr lang="ru-RU" sz="32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endParaRPr>
            </a:p>
            <a:p>
              <a:pPr indent="19050" algn="ctr">
                <a:spcAft>
                  <a:spcPts val="0"/>
                </a:spcAft>
              </a:pPr>
              <a:r>
                <a:rPr lang="ru-RU" sz="24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рост к 2010 году в 5,7 раз)</a:t>
              </a:r>
              <a:endParaRPr lang="ru-RU" sz="2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2" name="Прямая соединительная линия 31"/>
            <p:cNvCxnSpPr/>
            <p:nvPr/>
          </p:nvCxnSpPr>
          <p:spPr>
            <a:xfrm flipV="1">
              <a:off x="824780" y="2881396"/>
              <a:ext cx="15627956" cy="3579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D3DE6E75-2635-9148-B6A8-0C62CD67D698}"/>
                </a:ext>
              </a:extLst>
            </p:cNvPr>
            <p:cNvSpPr/>
            <p:nvPr/>
          </p:nvSpPr>
          <p:spPr>
            <a:xfrm>
              <a:off x="6309361" y="2179596"/>
              <a:ext cx="4663439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Экспорт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D3DE6E75-2635-9148-B6A8-0C62CD67D698}"/>
                </a:ext>
              </a:extLst>
            </p:cNvPr>
            <p:cNvSpPr/>
            <p:nvPr/>
          </p:nvSpPr>
          <p:spPr>
            <a:xfrm>
              <a:off x="12701822" y="2133309"/>
              <a:ext cx="3921838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3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Импорт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5404165" y="3383250"/>
              <a:ext cx="66409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туральном 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376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тыс.тонн</a:t>
              </a: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 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рост к 2010 году в </a:t>
              </a: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6,4 </a:t>
              </a: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аз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0972800" y="3498943"/>
              <a:ext cx="66409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туральном 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619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тыс.тонн</a:t>
              </a: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 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рост к 2010 году </a:t>
              </a: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2,4 раз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5549186" y="5409084"/>
              <a:ext cx="66409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туральном </a:t>
              </a: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154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млн.долл.США</a:t>
              </a: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 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</a:t>
              </a: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ост к 2010 году в </a:t>
              </a: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4,9 </a:t>
              </a: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аз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-36039" y="3395981"/>
              <a:ext cx="66409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8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в </a:t>
              </a:r>
              <a:r>
                <a:rPr lang="ru-RU" sz="28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туральном выражении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370 </a:t>
              </a:r>
              <a:r>
                <a:rPr lang="ru-RU" sz="3200" b="1" dirty="0" err="1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тыс.тонн</a:t>
              </a:r>
              <a:r>
                <a:rPr lang="ru-RU" sz="3200" b="1" dirty="0">
                  <a:solidFill>
                    <a:srgbClr val="00B050"/>
                  </a:solidFill>
                  <a:latin typeface="Arial Black" pitchFamily="34" charset="0"/>
                  <a:cs typeface="Arial" pitchFamily="34" charset="0"/>
                </a:rPr>
                <a:t> 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20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(рост к 2010 году в 3,8 раз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3" name="Прямая соединительная линия 42"/>
            <p:cNvCxnSpPr/>
            <p:nvPr/>
          </p:nvCxnSpPr>
          <p:spPr>
            <a:xfrm flipV="1">
              <a:off x="855735" y="1930987"/>
              <a:ext cx="15597001" cy="1317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Прямоугольник 48"/>
            <p:cNvSpPr/>
            <p:nvPr/>
          </p:nvSpPr>
          <p:spPr>
            <a:xfrm>
              <a:off x="5549186" y="7219473"/>
              <a:ext cx="664095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Китай (52%), РФ (38%), Кыргызстан (3%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11134409" y="7265640"/>
              <a:ext cx="6640951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indent="19050" algn="ctr">
                <a:spcAft>
                  <a:spcPts val="0"/>
                </a:spcAft>
              </a:pP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РФ (47%), Китай (22%), Узбекистан (6%),</a:t>
              </a:r>
            </a:p>
            <a:p>
              <a:pPr indent="19050" algn="ctr">
                <a:spcAft>
                  <a:spcPts val="0"/>
                </a:spcAft>
              </a:pPr>
              <a:r>
                <a:rPr lang="ru-RU" sz="2000" dirty="0" smtClean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Корея (3%)</a:t>
              </a:r>
              <a:endParaRPr lang="x-none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0970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oogle Shape;847;p74">
            <a:extLst>
              <a:ext uri="{FF2B5EF4-FFF2-40B4-BE49-F238E27FC236}">
                <a16:creationId xmlns="" xmlns:a16="http://schemas.microsoft.com/office/drawing/2014/main" id="{08DC410D-DAFF-1540-A578-A88BA0AD61DC}"/>
              </a:ext>
            </a:extLst>
          </p:cNvPr>
          <p:cNvCxnSpPr/>
          <p:nvPr/>
        </p:nvCxnSpPr>
        <p:spPr>
          <a:xfrm>
            <a:off x="424357" y="832099"/>
            <a:ext cx="16178521" cy="0"/>
          </a:xfrm>
          <a:prstGeom prst="straightConnector1">
            <a:avLst/>
          </a:prstGeom>
          <a:noFill/>
          <a:ln w="5715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" name="Текст 3">
            <a:extLst>
              <a:ext uri="{FF2B5EF4-FFF2-40B4-BE49-F238E27FC236}">
                <a16:creationId xmlns="" xmlns:a16="http://schemas.microsoft.com/office/drawing/2014/main" id="{A83862E7-C692-1547-A9C9-2387E170361D}"/>
              </a:ext>
            </a:extLst>
          </p:cNvPr>
          <p:cNvSpPr txBox="1">
            <a:spLocks/>
          </p:cNvSpPr>
          <p:nvPr/>
        </p:nvSpPr>
        <p:spPr>
          <a:xfrm>
            <a:off x="445139" y="130157"/>
            <a:ext cx="16178521" cy="645829"/>
          </a:xfrm>
          <a:prstGeom prst="rect">
            <a:avLst/>
          </a:prstGeom>
        </p:spPr>
        <p:txBody>
          <a:bodyPr lIns="90515" tIns="45259" rIns="90515" bIns="45259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618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ФТЕГАЗОХИМИЧЕСКАЯ ПРОМЫШЛЕННОСТЬ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9F78E4F0-6794-F34F-93DD-6E6C2A4FCC10}"/>
              </a:ext>
            </a:extLst>
          </p:cNvPr>
          <p:cNvSpPr/>
          <p:nvPr/>
        </p:nvSpPr>
        <p:spPr>
          <a:xfrm>
            <a:off x="545085" y="1075097"/>
            <a:ext cx="6966972" cy="95410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err="1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Атырауский</a:t>
            </a:r>
            <a:endParaRPr lang="en-US" sz="28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 нефтеперерабатывающий завод</a:t>
            </a:r>
            <a:endParaRPr lang="x-none" sz="28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H="1">
            <a:off x="8379458" y="1031904"/>
            <a:ext cx="40503" cy="34384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9F78E4F0-6794-F34F-93DD-6E6C2A4FCC10}"/>
              </a:ext>
            </a:extLst>
          </p:cNvPr>
          <p:cNvSpPr/>
          <p:nvPr/>
        </p:nvSpPr>
        <p:spPr>
          <a:xfrm>
            <a:off x="11264648" y="1321318"/>
            <a:ext cx="31849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err="1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Нефтехим</a:t>
            </a:r>
            <a:r>
              <a:rPr lang="ru-RU" sz="28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LTD</a:t>
            </a:r>
            <a:endParaRPr lang="x-none" sz="28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50240" y="2722880"/>
            <a:ext cx="2844800" cy="119888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ЕНЗОЛ</a:t>
            </a:r>
          </a:p>
          <a:p>
            <a:pPr lvl="0" algn="ctr"/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33 </a:t>
            </a:r>
            <a:r>
              <a:rPr lang="ru-RU" sz="2400" dirty="0" err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тонн</a:t>
            </a:r>
            <a:endParaRPr lang="ru-RU" sz="24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/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514849" y="2722880"/>
            <a:ext cx="2844800" cy="119888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АРАКСИЛОЛ</a:t>
            </a:r>
          </a:p>
          <a:p>
            <a:pPr lvl="0" algn="ctr"/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96 </a:t>
            </a:r>
            <a:r>
              <a:rPr lang="ru-RU" sz="2400" dirty="0" err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тонн</a:t>
            </a:r>
            <a:endParaRPr lang="ru-RU" sz="24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9734182" y="2722880"/>
            <a:ext cx="6156058" cy="119888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ЛИПРОПИЛЕН</a:t>
            </a:r>
          </a:p>
          <a:p>
            <a:pPr lvl="0" algn="ctr"/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0 </a:t>
            </a:r>
            <a:r>
              <a:rPr lang="ru-RU" sz="2400" dirty="0" err="1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тонн</a:t>
            </a:r>
            <a:endParaRPr lang="ru-RU" sz="24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650240" y="4653280"/>
            <a:ext cx="15687040" cy="406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50240" y="5133052"/>
            <a:ext cx="1580896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tabLst>
                <a:tab pos="352425" algn="l"/>
              </a:tabLst>
            </a:pPr>
            <a:r>
              <a:rPr lang="ru-RU" sz="3200" b="1" dirty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сновные потребители: производство резиновых и пластмассовых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зделий</a:t>
            </a:r>
          </a:p>
          <a:p>
            <a:pPr algn="just">
              <a:tabLst>
                <a:tab pos="352425" algn="l"/>
              </a:tabLst>
            </a:pP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   В 2020 году </a:t>
            </a: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ставило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41 млрд. тенге, </a:t>
            </a: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то на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%</a:t>
            </a: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больше в сравнении с 2019 годом:</a:t>
            </a:r>
          </a:p>
          <a:p>
            <a:pPr marL="457200" indent="436563" algn="just"/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трубы, трубки, рукава и шланги из пластмасс на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,5 %</a:t>
            </a: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;</a:t>
            </a:r>
          </a:p>
          <a:p>
            <a:pPr marL="893763" algn="just">
              <a:buFontTx/>
              <a:buChar char="-"/>
            </a:pP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двери, окна, коробки для дверей и рамы оконные на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%;</a:t>
            </a:r>
          </a:p>
          <a:p>
            <a:pPr marL="893763" algn="just">
              <a:buFontTx/>
              <a:buChar char="-"/>
            </a:pP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плиты, листы, пленка, фольга на </a:t>
            </a:r>
            <a:r>
              <a:rPr lang="ru-RU" sz="3200" b="1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%;</a:t>
            </a:r>
          </a:p>
          <a:p>
            <a:pPr marL="893763" algn="just">
              <a:buFontTx/>
              <a:buChar char="-"/>
            </a:pPr>
            <a:r>
              <a:rPr lang="ru-RU" sz="3200" dirty="0" smtClean="0">
                <a:solidFill>
                  <a:srgbClr val="4472C4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мешки и сумки из полиэтилена на 119%</a:t>
            </a:r>
            <a:endParaRPr lang="ru-RU" sz="3200" dirty="0">
              <a:solidFill>
                <a:srgbClr val="4472C4">
                  <a:lumMod val="75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889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24AE253-EFC5-4A20-AD52-AE9C1FB09C50}"/>
              </a:ext>
            </a:extLst>
          </p:cNvPr>
          <p:cNvSpPr/>
          <p:nvPr/>
        </p:nvSpPr>
        <p:spPr>
          <a:xfrm>
            <a:off x="222858" y="0"/>
            <a:ext cx="9403713" cy="560838"/>
          </a:xfrm>
          <a:prstGeom prst="rect">
            <a:avLst/>
          </a:prstGeom>
          <a:solidFill>
            <a:schemeClr val="bg1"/>
          </a:solidFill>
        </p:spPr>
        <p:txBody>
          <a:bodyPr wrap="square" lIns="128695" tIns="64347" rIns="128695" bIns="64347">
            <a:spAutoFit/>
          </a:bodyPr>
          <a:lstStyle/>
          <a:p>
            <a:pPr algn="just" defTabSz="1142775">
              <a:defRPr/>
            </a:pPr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Е ЭКОНОМИЧЕСКИЕ ЗОНЫ</a:t>
            </a:r>
            <a:endParaRPr lang="kk-KZ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96242" y="2000496"/>
            <a:ext cx="2999573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СЭЗ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96242" y="2693054"/>
            <a:ext cx="4011799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РОЕКТ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96242" y="4150249"/>
            <a:ext cx="4459683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О ИНВЕСТИЦ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96242" y="3448190"/>
            <a:ext cx="5015767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ЫЕ РАБОЧИЕ МЕСТ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96243" y="4840365"/>
            <a:ext cx="3927058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ПРОИЗВОДСТВ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96242" y="5555141"/>
            <a:ext cx="4889733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ОЖЕНО В ИНФРАСТРУКТУРУ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296242" y="6227216"/>
            <a:ext cx="3090898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ЭКСПОРТ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296243" y="6841218"/>
            <a:ext cx="6183089" cy="861775"/>
          </a:xfrm>
          <a:prstGeom prst="rect">
            <a:avLst/>
          </a:prstGeom>
        </p:spPr>
        <p:txBody>
          <a:bodyPr wrap="square" lIns="170682" tIns="85341" rIns="170682" bIns="85341">
            <a:spAutoFit/>
          </a:bodyPr>
          <a:lstStyle/>
          <a:p>
            <a:pPr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 БЮДЖЕТНЫЙ ТЕНГЕ ПРИВЛЕЧЕНО ИНВЕСТИЦ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0762462" y="1879862"/>
            <a:ext cx="985057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13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762462" y="2528477"/>
            <a:ext cx="1305227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292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762462" y="3294493"/>
            <a:ext cx="1798953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20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762461" y="4009482"/>
            <a:ext cx="2521527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4,4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 </a:t>
            </a:r>
            <a:r>
              <a:rPr lang="ru-RU" sz="26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762461" y="4725459"/>
            <a:ext cx="2521527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3,8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 </a:t>
            </a:r>
            <a:r>
              <a:rPr lang="ru-RU" sz="26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0762461" y="5440236"/>
            <a:ext cx="2773717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375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sz="26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762461" y="6112310"/>
            <a:ext cx="2932306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283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sz="26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762462" y="6808155"/>
            <a:ext cx="1644195" cy="746872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 algn="ctr"/>
            <a:r>
              <a:rPr lang="ru-RU" sz="3700" b="1" dirty="0">
                <a:solidFill>
                  <a:srgbClr val="00B050"/>
                </a:solidFill>
                <a:latin typeface="Arial Black" pitchFamily="34" charset="0"/>
                <a:cs typeface="Arial" pitchFamily="34" charset="0"/>
              </a:rPr>
              <a:t>4 </a:t>
            </a:r>
            <a:r>
              <a:rPr lang="ru-RU" sz="2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е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544823" y="922943"/>
            <a:ext cx="4409173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r>
              <a:rPr lang="kk-KZ" sz="2200" b="1" dirty="0">
                <a:solidFill>
                  <a:srgbClr val="002060"/>
                </a:solidFill>
                <a:latin typeface="Arial"/>
                <a:ea typeface="Times New Roman"/>
              </a:rPr>
              <a:t>ПОЛИПРОПИЛЕН </a:t>
            </a:r>
            <a:r>
              <a:rPr lang="kk-KZ" sz="1900" i="1" dirty="0">
                <a:solidFill>
                  <a:srgbClr val="002060"/>
                </a:solidFill>
                <a:latin typeface="Arial"/>
                <a:ea typeface="Times New Roman"/>
              </a:rPr>
              <a:t>(ТОО «</a:t>
            </a:r>
            <a:r>
              <a:rPr lang="en-US" sz="1900" i="1" dirty="0">
                <a:solidFill>
                  <a:srgbClr val="002060"/>
                </a:solidFill>
                <a:latin typeface="Arial"/>
                <a:ea typeface="Times New Roman"/>
              </a:rPr>
              <a:t>KPI</a:t>
            </a:r>
            <a:r>
              <a:rPr lang="kk-KZ" sz="1900" i="1" dirty="0">
                <a:solidFill>
                  <a:srgbClr val="002060"/>
                </a:solidFill>
                <a:latin typeface="Arial"/>
                <a:ea typeface="Times New Roman"/>
              </a:rPr>
              <a:t>»)</a:t>
            </a:r>
            <a:endParaRPr lang="ru-RU" sz="1900" i="1" dirty="0">
              <a:solidFill>
                <a:srgbClr val="002060"/>
              </a:solidFill>
              <a:latin typeface="Arial"/>
              <a:ea typeface="Times New Roman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544823" y="1320130"/>
            <a:ext cx="4056924" cy="517065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lvl="0"/>
            <a:r>
              <a:rPr lang="kk-KZ" sz="2200" b="1" dirty="0">
                <a:solidFill>
                  <a:srgbClr val="002060"/>
                </a:solidFill>
                <a:latin typeface="Arial"/>
                <a:ea typeface="Times New Roman"/>
              </a:rPr>
              <a:t>ПОЛИЭТИЛЕН</a:t>
            </a:r>
            <a:r>
              <a:rPr lang="en-US" sz="2200" b="1" dirty="0">
                <a:solidFill>
                  <a:srgbClr val="002060"/>
                </a:solidFill>
                <a:latin typeface="Arial"/>
                <a:ea typeface="Times New Roman"/>
              </a:rPr>
              <a:t> 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(ТОО «</a:t>
            </a:r>
            <a:r>
              <a:rPr lang="en-US" sz="1900" i="1" dirty="0">
                <a:solidFill>
                  <a:srgbClr val="002060"/>
                </a:solidFill>
                <a:latin typeface="Arial"/>
                <a:ea typeface="Times New Roman"/>
              </a:rPr>
              <a:t>KLPE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»)</a:t>
            </a:r>
            <a:endParaRPr lang="ru-RU" sz="1900" i="1" dirty="0">
              <a:solidFill>
                <a:srgbClr val="00206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534400" y="956801"/>
            <a:ext cx="8534400" cy="449348"/>
          </a:xfrm>
          <a:prstGeom prst="rect">
            <a:avLst/>
          </a:prstGeom>
        </p:spPr>
        <p:txBody>
          <a:bodyPr lIns="170682" tIns="85341" rIns="170682" bIns="85341">
            <a:spAutoFit/>
          </a:bodyPr>
          <a:lstStyle/>
          <a:p>
            <a:pPr algn="ctr"/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циональный индустриальный нефтехимический технопарк» 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SEZ «NATIONAL INDUSTRIAL PETROCHEMICAL TECHNOPARK»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115" y="625644"/>
            <a:ext cx="784590" cy="1345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469504" y="1936387"/>
            <a:ext cx="15995377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domestic tariff area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484" y="2029015"/>
            <a:ext cx="827801" cy="40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peration, project icon, line vector.eps 2061773 Vector Art at Vecteezy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30" t="18974" r="23193" b="18264"/>
          <a:stretch/>
        </p:blipFill>
        <p:spPr bwMode="auto">
          <a:xfrm>
            <a:off x="2211803" y="2634208"/>
            <a:ext cx="569160" cy="634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Group people icon social or business Royalty Free Vector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87"/>
          <a:stretch/>
        </p:blipFill>
        <p:spPr bwMode="auto">
          <a:xfrm>
            <a:off x="2180039" y="3378490"/>
            <a:ext cx="632684" cy="53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Free Money Icon. SVG, EPS, JPG, PNG. Download Money Icon.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00" t="18386" r="21639" b="20849"/>
          <a:stretch/>
        </p:blipFill>
        <p:spPr bwMode="auto">
          <a:xfrm>
            <a:off x="2225083" y="4142365"/>
            <a:ext cx="493334" cy="532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roduction icon, symbol ⬇ Vector Image by © Howcolour | Vector Stock  160502748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094" y="4802246"/>
            <a:ext cx="611367" cy="61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t Infrastructure Icons - Download Free Vector Icons | Noun Project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027" y="5490771"/>
            <a:ext cx="581435" cy="581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Export icon - Free download on Iconfinder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150" y="6147031"/>
            <a:ext cx="694383" cy="69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Иконка «Тенге» — скачай бесплатно PNG и векторе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651" y="6905585"/>
            <a:ext cx="613008" cy="61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10925446" y="1440008"/>
            <a:ext cx="3277808" cy="495514"/>
          </a:xfrm>
          <a:prstGeom prst="rect">
            <a:avLst/>
          </a:prstGeom>
        </p:spPr>
        <p:txBody>
          <a:bodyPr wrap="none" lIns="170682" tIns="85341" rIns="170682" bIns="85341">
            <a:spAutoFit/>
          </a:bodyPr>
          <a:lstStyle/>
          <a:p>
            <a:pPr algn="ctr" defTabSz="1706819">
              <a:defRPr/>
            </a:pPr>
            <a:r>
              <a:rPr lang="ru-RU" sz="2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1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ырауская</a:t>
            </a:r>
            <a:r>
              <a:rPr lang="ru-RU" sz="2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ласть)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469504" y="7708409"/>
            <a:ext cx="15995377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222858" y="7858158"/>
            <a:ext cx="16623085" cy="1551194"/>
          </a:xfrm>
          <a:prstGeom prst="rect">
            <a:avLst/>
          </a:prstGeom>
        </p:spPr>
        <p:txBody>
          <a:bodyPr wrap="square" lIns="170682" tIns="85341" rIns="170682" bIns="85341">
            <a:spAutoFit/>
          </a:bodyPr>
          <a:lstStyle/>
          <a:p>
            <a:pPr defTabSz="1706819">
              <a:defRPr/>
            </a:pP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«Производство нефтехимической продукции» </a:t>
            </a:r>
            <a:r>
              <a:rPr lang="ru-RU" sz="2200" dirty="0">
                <a:solidFill>
                  <a:srgbClr val="002060"/>
                </a:solidFill>
                <a:latin typeface="Arial"/>
                <a:ea typeface="Times New Roman"/>
              </a:rPr>
              <a:t>предусмотрено в </a:t>
            </a: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трех</a:t>
            </a:r>
            <a:r>
              <a:rPr lang="ru-RU" sz="2200" dirty="0">
                <a:solidFill>
                  <a:srgbClr val="002060"/>
                </a:solidFill>
                <a:latin typeface="Arial"/>
                <a:ea typeface="Times New Roman"/>
              </a:rPr>
              <a:t> СЭЗ: </a:t>
            </a:r>
          </a:p>
          <a:p>
            <a:pPr marL="320029" indent="-320029" defTabSz="1706819">
              <a:buFont typeface="Wingdings" panose="05000000000000000000" pitchFamily="2" charset="2"/>
              <a:buChar char="Ø"/>
              <a:defRPr/>
            </a:pP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«Национальный индустриальный нефтехимический технопарк» 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(</a:t>
            </a:r>
            <a:r>
              <a:rPr lang="ru-RU" sz="1900" i="1" dirty="0" err="1">
                <a:solidFill>
                  <a:srgbClr val="002060"/>
                </a:solidFill>
                <a:latin typeface="Arial"/>
                <a:ea typeface="Times New Roman"/>
              </a:rPr>
              <a:t>Атырауская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 область) </a:t>
            </a:r>
          </a:p>
          <a:p>
            <a:pPr marL="320029" indent="-320029" defTabSz="1706819">
              <a:buFont typeface="Wingdings" panose="05000000000000000000" pitchFamily="2" charset="2"/>
              <a:buChar char="Ø"/>
              <a:defRPr/>
            </a:pP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«</a:t>
            </a:r>
            <a:r>
              <a:rPr lang="ru-RU" sz="2200" b="1" dirty="0" err="1">
                <a:solidFill>
                  <a:srgbClr val="002060"/>
                </a:solidFill>
                <a:latin typeface="Arial"/>
                <a:ea typeface="Times New Roman"/>
              </a:rPr>
              <a:t>Морпорт</a:t>
            </a: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 Актау» 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(</a:t>
            </a:r>
            <a:r>
              <a:rPr lang="ru-RU" sz="1900" i="1" dirty="0" err="1">
                <a:solidFill>
                  <a:srgbClr val="002060"/>
                </a:solidFill>
                <a:latin typeface="Arial"/>
                <a:ea typeface="Times New Roman"/>
              </a:rPr>
              <a:t>Мангистауская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 область)</a:t>
            </a:r>
          </a:p>
          <a:p>
            <a:pPr marL="320029" indent="-320029" defTabSz="1706819">
              <a:buFont typeface="Wingdings" panose="05000000000000000000" pitchFamily="2" charset="2"/>
              <a:buChar char="Ø"/>
              <a:defRPr/>
            </a:pPr>
            <a:r>
              <a:rPr lang="ru-RU" sz="2200" b="1" dirty="0">
                <a:solidFill>
                  <a:srgbClr val="002060"/>
                </a:solidFill>
                <a:latin typeface="Arial"/>
                <a:ea typeface="Times New Roman"/>
              </a:rPr>
              <a:t>«Павлодар» </a:t>
            </a:r>
            <a:r>
              <a:rPr lang="ru-RU" sz="1900" i="1" dirty="0">
                <a:solidFill>
                  <a:srgbClr val="002060"/>
                </a:solidFill>
                <a:latin typeface="Arial"/>
                <a:ea typeface="Times New Roman"/>
              </a:rPr>
              <a:t>(Павлодарская область)</a:t>
            </a: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5400000">
            <a:off x="5770556" y="994870"/>
            <a:ext cx="975852" cy="546265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0682" tIns="85341" rIns="170682" bIns="85341" rtlCol="0" anchor="ctr"/>
          <a:lstStyle/>
          <a:p>
            <a:pPr algn="ctr"/>
            <a:endParaRPr lang="ru-RU"/>
          </a:p>
        </p:txBody>
      </p:sp>
      <p:cxnSp>
        <p:nvCxnSpPr>
          <p:cNvPr id="36" name="Google Shape;847;p74">
            <a:extLst>
              <a:ext uri="{FF2B5EF4-FFF2-40B4-BE49-F238E27FC236}">
                <a16:creationId xmlns="" xmlns:a16="http://schemas.microsoft.com/office/drawing/2014/main" id="{08DC410D-DAFF-1540-A578-A88BA0AD61DC}"/>
              </a:ext>
            </a:extLst>
          </p:cNvPr>
          <p:cNvCxnSpPr/>
          <p:nvPr/>
        </p:nvCxnSpPr>
        <p:spPr>
          <a:xfrm>
            <a:off x="424357" y="832099"/>
            <a:ext cx="16178521" cy="0"/>
          </a:xfrm>
          <a:prstGeom prst="straightConnector1">
            <a:avLst/>
          </a:prstGeom>
          <a:noFill/>
          <a:ln w="5715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1575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5442857" y="1201641"/>
            <a:ext cx="4914377" cy="79002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0682" tIns="85341" rIns="170682" bIns="85341"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EF8CFA53-D226-4BD2-9271-41212BF5DA33}"/>
              </a:ext>
            </a:extLst>
          </p:cNvPr>
          <p:cNvSpPr txBox="1"/>
          <p:nvPr/>
        </p:nvSpPr>
        <p:spPr>
          <a:xfrm>
            <a:off x="10772243" y="1703949"/>
            <a:ext cx="5983800" cy="495514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sz="2100" dirty="0">
                <a:solidFill>
                  <a:prstClr val="black"/>
                </a:solidFill>
                <a:latin typeface="Arial Black" pitchFamily="34" charset="0"/>
                <a:ea typeface="Arial Unicode MS"/>
                <a:cs typeface="Arial" panose="020B0604020202020204" pitchFamily="34" charset="0"/>
              </a:rPr>
              <a:t>Объем инвестиций</a:t>
            </a:r>
            <a:endParaRPr lang="en-US" sz="2100" dirty="0">
              <a:solidFill>
                <a:prstClr val="black"/>
              </a:solidFill>
              <a:latin typeface="Arial Black" pitchFamily="34" charset="0"/>
              <a:ea typeface="Arial Unicode MS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5155A109-2E4D-406E-8915-A604AEE937C0}"/>
              </a:ext>
            </a:extLst>
          </p:cNvPr>
          <p:cNvSpPr txBox="1"/>
          <p:nvPr/>
        </p:nvSpPr>
        <p:spPr>
          <a:xfrm>
            <a:off x="10742035" y="7979144"/>
            <a:ext cx="6014010" cy="818680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Лишение льгот за нарушения условий и критериев договоров  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7A7BD720-929C-4AE3-B712-F3CEB0961279}"/>
              </a:ext>
            </a:extLst>
          </p:cNvPr>
          <p:cNvSpPr/>
          <p:nvPr/>
        </p:nvSpPr>
        <p:spPr>
          <a:xfrm>
            <a:off x="10772245" y="2808228"/>
            <a:ext cx="5983800" cy="1711232"/>
          </a:xfrm>
          <a:prstGeom prst="rect">
            <a:avLst/>
          </a:prstGeom>
        </p:spPr>
        <p:txBody>
          <a:bodyPr wrap="square" lIns="170682" tIns="85341" rIns="170682" bIns="85341">
            <a:spAutoFit/>
          </a:bodyPr>
          <a:lstStyle/>
          <a:p>
            <a:pPr>
              <a:defRPr/>
            </a:pPr>
            <a:r>
              <a:rPr lang="ru-RU" altLang="ko-KR" sz="17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1. Неприменение критерия 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ko-KR" sz="1500" b="1" dirty="0">
                <a:solidFill>
                  <a:srgbClr val="00B050"/>
                </a:solidFill>
                <a:latin typeface="Arial Black" pitchFamily="34" charset="0"/>
                <a:cs typeface="Arial" panose="020B0604020202020204" pitchFamily="34" charset="0"/>
              </a:rPr>
              <a:t>5</a:t>
            </a:r>
            <a:r>
              <a:rPr lang="ru-RU" altLang="ko-KR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ет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r>
              <a:rPr lang="ru-RU" altLang="ko-KR" sz="17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2. При применении критерия 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20029">
              <a:buClr>
                <a:schemeClr val="tx1"/>
              </a:buClr>
              <a:defRPr/>
            </a:pP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7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ru-RU" altLang="ko-KR" sz="17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altLang="ko-KR" sz="17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7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РП – </a:t>
            </a:r>
            <a:r>
              <a:rPr lang="ru-RU" altLang="ko-KR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ru-RU" altLang="ko-KR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3</a:t>
            </a:r>
            <a:r>
              <a:rPr lang="ru-RU" altLang="ko-KR" sz="1500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5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23</a:t>
            </a:r>
            <a:r>
              <a:rPr lang="ru-RU" altLang="ko-KR" sz="1500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en-US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20029">
              <a:buClr>
                <a:schemeClr val="tx1"/>
              </a:buClr>
              <a:defRPr/>
            </a:pP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0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7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н МРП – </a:t>
            </a:r>
            <a:r>
              <a:rPr lang="ru-RU" altLang="ko-KR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altLang="ko-KR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ет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– </a:t>
            </a:r>
            <a:r>
              <a:rPr lang="ru-RU" altLang="ko-KR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н </a:t>
            </a:r>
            <a:r>
              <a:rPr lang="en-US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ko-KR" sz="15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0029">
              <a:defRPr/>
            </a:pP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выше </a:t>
            </a: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МРП –</a:t>
            </a:r>
            <a:r>
              <a:rPr lang="ru-RU" altLang="ko-KR" sz="17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altLang="ko-KR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(+</a:t>
            </a: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altLang="ko-KR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ru-RU" altLang="ko-KR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скидкой </a:t>
            </a:r>
            <a:r>
              <a:rPr lang="ru-RU" altLang="ko-KR" sz="17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ru-RU" altLang="ko-KR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altLang="ko-KR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F0B9DC78-63C3-4E69-B5F9-B0C5A0C1878A}"/>
              </a:ext>
            </a:extLst>
          </p:cNvPr>
          <p:cNvSpPr txBox="1"/>
          <p:nvPr/>
        </p:nvSpPr>
        <p:spPr>
          <a:xfrm>
            <a:off x="137792" y="271261"/>
            <a:ext cx="11359286" cy="560838"/>
          </a:xfrm>
          <a:prstGeom prst="rect">
            <a:avLst/>
          </a:prstGeom>
          <a:noFill/>
        </p:spPr>
        <p:txBody>
          <a:bodyPr wrap="square" lIns="128695" tIns="64347" rIns="128695" bIns="64347">
            <a:spAutoFit/>
          </a:bodyPr>
          <a:lstStyle>
            <a:defPPr>
              <a:defRPr lang="ru-RU"/>
            </a:defPPr>
            <a:lvl1pPr algn="ctr" defTabSz="612223">
              <a:defRPr b="1" cap="all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defRPr>
            </a:lvl1pPr>
          </a:lstStyle>
          <a:p>
            <a:pPr algn="just"/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</a:rPr>
              <a:t>НОВЫЕ ПОДХОДЫ ФУНКЦИОНИРОВАНИЯ СЭЗ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="" xmlns:a16="http://schemas.microsoft.com/office/drawing/2014/main" id="{E28174F6-1768-47BB-B55C-4AF6C2B0F7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745" b="93897" l="3571" r="90000">
                        <a14:foregroundMark x1="36429" y1="6959" x2="36429" y2="6959"/>
                        <a14:foregroundMark x1="42024" y1="9422" x2="42024" y2="9422"/>
                        <a14:foregroundMark x1="27738" y1="35011" x2="27738" y2="35011"/>
                        <a14:foregroundMark x1="50952" y1="33940" x2="50952" y2="33940"/>
                        <a14:foregroundMark x1="48810" y1="37473" x2="48810" y2="37473"/>
                        <a14:foregroundMark x1="31429" y1="51927" x2="31429" y2="51927"/>
                        <a14:foregroundMark x1="45952" y1="55032" x2="45952" y2="55032"/>
                        <a14:foregroundMark x1="43810" y1="58565" x2="43810" y2="58565"/>
                        <a14:foregroundMark x1="32976" y1="72484" x2="32976" y2="72484"/>
                        <a14:foregroundMark x1="40476" y1="74197" x2="40476" y2="74197"/>
                        <a14:foregroundMark x1="41667" y1="77516" x2="41667" y2="77516"/>
                        <a14:foregroundMark x1="3690" y1="63383" x2="3690" y2="63383"/>
                        <a14:foregroundMark x1="31190" y1="93897" x2="31190" y2="93897"/>
                      </a14:backgroundRemoval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31" y="1778957"/>
            <a:ext cx="412380" cy="458530"/>
          </a:xfrm>
          <a:prstGeom prst="rect">
            <a:avLst/>
          </a:prstGeom>
          <a:ln>
            <a:noFill/>
          </a:ln>
        </p:spPr>
      </p:pic>
      <p:pic>
        <p:nvPicPr>
          <p:cNvPr id="83" name="Рисунок 82">
            <a:extLst>
              <a:ext uri="{FF2B5EF4-FFF2-40B4-BE49-F238E27FC236}">
                <a16:creationId xmlns="" xmlns:a16="http://schemas.microsoft.com/office/drawing/2014/main" id="{35E7E081-B55C-4380-90DA-83CCAAA77AC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78" b="89778" l="2667" r="93778">
                        <a14:foregroundMark x1="46667" y1="16444" x2="46667" y2="16444"/>
                        <a14:foregroundMark x1="60000" y1="40444" x2="60000" y2="40444"/>
                        <a14:foregroundMark x1="68889" y1="48000" x2="68889" y2="48000"/>
                        <a14:foregroundMark x1="44444" y1="38222" x2="44444" y2="38222"/>
                        <a14:foregroundMark x1="94222" y1="70222" x2="94222" y2="70222"/>
                        <a14:foregroundMark x1="7556" y1="63556" x2="7556" y2="63556"/>
                        <a14:foregroundMark x1="2667" y1="58667" x2="2667" y2="58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31" y="3571784"/>
            <a:ext cx="481583" cy="481583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="" xmlns:a16="http://schemas.microsoft.com/office/drawing/2014/main" id="{8D8B1C33-BDEF-42E9-9C50-E9607F80B96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667" b="90000" l="7556" r="92000">
                        <a14:foregroundMark x1="31444" y1="8333" x2="31444" y2="8333"/>
                        <a14:foregroundMark x1="34444" y1="17556" x2="34444" y2="17556"/>
                        <a14:foregroundMark x1="50000" y1="34222" x2="50000" y2="34222"/>
                        <a14:foregroundMark x1="64444" y1="18667" x2="64444" y2="18667"/>
                        <a14:foregroundMark x1="68111" y1="6667" x2="68111" y2="6667"/>
                        <a14:foregroundMark x1="92000" y1="42222" x2="92000" y2="42222"/>
                        <a14:foregroundMark x1="7556" y1="59444" x2="7556" y2="59444"/>
                        <a14:foregroundMark x1="49444" y1="63667" x2="49444" y2="63667"/>
                      </a14:backgroundRemoval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40" y="8217646"/>
            <a:ext cx="534365" cy="490166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3D54811A-37D7-45D6-BD30-2410BC1B1749}"/>
              </a:ext>
            </a:extLst>
          </p:cNvPr>
          <p:cNvSpPr txBox="1"/>
          <p:nvPr/>
        </p:nvSpPr>
        <p:spPr>
          <a:xfrm>
            <a:off x="1106058" y="1630590"/>
            <a:ext cx="3841395" cy="818680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КРИТЕРИИ ДЛЯ ПРОЕКТОВ</a:t>
            </a:r>
            <a:endParaRPr lang="ko-KR" altLang="en-US" sz="21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83EFF19E-16C3-4BD5-933C-CEEFCFD19760}"/>
              </a:ext>
            </a:extLst>
          </p:cNvPr>
          <p:cNvSpPr txBox="1"/>
          <p:nvPr/>
        </p:nvSpPr>
        <p:spPr>
          <a:xfrm>
            <a:off x="1106059" y="3495975"/>
            <a:ext cx="3841393" cy="818680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ЛЬГОТЫ </a:t>
            </a:r>
            <a:b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</a:b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И ПРЕФЕРЕНЦИИ</a:t>
            </a:r>
            <a:endParaRPr lang="ko-KR" altLang="en-US" sz="21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2A03F99F-41B5-44D0-9409-25CA54A477E7}"/>
              </a:ext>
            </a:extLst>
          </p:cNvPr>
          <p:cNvSpPr txBox="1"/>
          <p:nvPr/>
        </p:nvSpPr>
        <p:spPr>
          <a:xfrm>
            <a:off x="996286" y="7980847"/>
            <a:ext cx="4336795" cy="818680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ОБЕСПЕЧЕНИЕ УСЛОВИЙ </a:t>
            </a:r>
          </a:p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ДОГОВОРОВ</a:t>
            </a:r>
            <a:endParaRPr lang="ko-KR" altLang="en-US" sz="21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7EDE8F0E-BA64-4F96-B059-F364ABBE3282}"/>
              </a:ext>
            </a:extLst>
          </p:cNvPr>
          <p:cNvSpPr txBox="1"/>
          <p:nvPr/>
        </p:nvSpPr>
        <p:spPr>
          <a:xfrm>
            <a:off x="11490593" y="4238111"/>
            <a:ext cx="5341131" cy="861775"/>
          </a:xfrm>
          <a:prstGeom prst="rect">
            <a:avLst/>
          </a:prstGeom>
          <a:noFill/>
        </p:spPr>
        <p:txBody>
          <a:bodyPr wrap="square" lIns="170682" tIns="85341" rIns="170682" bIns="85341">
            <a:spAutoFit/>
          </a:bodyPr>
          <a:lstStyle/>
          <a:p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Повышение качества и количества проектов </a:t>
            </a:r>
          </a:p>
          <a:p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Увеличение потока инвестиций</a:t>
            </a:r>
          </a:p>
          <a:p>
            <a:r>
              <a:rPr lang="ru-RU" sz="1500" i="1" dirty="0">
                <a:latin typeface="Arial" panose="020B0604020202020204" pitchFamily="34" charset="0"/>
                <a:cs typeface="Arial" panose="020B0604020202020204" pitchFamily="34" charset="0"/>
              </a:rPr>
              <a:t>3. Стабильность для инвесторов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9810" y="4514892"/>
            <a:ext cx="340784" cy="296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B4811964-6460-46EF-8682-BFD0BDFA1715}"/>
              </a:ext>
            </a:extLst>
          </p:cNvPr>
          <p:cNvSpPr txBox="1"/>
          <p:nvPr/>
        </p:nvSpPr>
        <p:spPr>
          <a:xfrm>
            <a:off x="5442857" y="1703945"/>
            <a:ext cx="4933662" cy="495514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/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Отсутствуют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553545EE-F712-449B-9D6A-8EE825904134}"/>
              </a:ext>
            </a:extLst>
          </p:cNvPr>
          <p:cNvSpPr txBox="1"/>
          <p:nvPr/>
        </p:nvSpPr>
        <p:spPr>
          <a:xfrm>
            <a:off x="5442855" y="3231624"/>
            <a:ext cx="4933662" cy="495514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До конца действия СЭЗ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260C6FAD-F2F5-4E6C-9225-7993721BB14A}"/>
              </a:ext>
            </a:extLst>
          </p:cNvPr>
          <p:cNvSpPr txBox="1"/>
          <p:nvPr/>
        </p:nvSpPr>
        <p:spPr>
          <a:xfrm>
            <a:off x="6053498" y="3999418"/>
            <a:ext cx="3523772" cy="631967"/>
          </a:xfrm>
          <a:prstGeom prst="rect">
            <a:avLst/>
          </a:prstGeom>
          <a:noFill/>
        </p:spPr>
        <p:txBody>
          <a:bodyPr wrap="square" lIns="170682" tIns="85341" rIns="170682" bIns="85341">
            <a:spAutoFit/>
          </a:bodyPr>
          <a:lstStyle/>
          <a:p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Низкая привлекательность</a:t>
            </a:r>
          </a:p>
          <a:p>
            <a:r>
              <a:rPr lang="ru-RU" altLang="ko-K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Неравнозначные сроки льгот </a:t>
            </a:r>
            <a:endParaRPr lang="ru-RU" sz="15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имвол &quot;Запрещено&quot; 53">
            <a:extLst>
              <a:ext uri="{FF2B5EF4-FFF2-40B4-BE49-F238E27FC236}">
                <a16:creationId xmlns="" xmlns:a16="http://schemas.microsoft.com/office/drawing/2014/main" id="{018505F1-5534-4414-8967-9871C5BBCB11}"/>
              </a:ext>
            </a:extLst>
          </p:cNvPr>
          <p:cNvSpPr/>
          <p:nvPr/>
        </p:nvSpPr>
        <p:spPr>
          <a:xfrm>
            <a:off x="5613995" y="4126725"/>
            <a:ext cx="385693" cy="347142"/>
          </a:xfrm>
          <a:prstGeom prst="noSmoking">
            <a:avLst/>
          </a:prstGeom>
          <a:solidFill>
            <a:srgbClr val="CC33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0682" tIns="85341" rIns="170682" bIns="85341" rtlCol="0" anchor="ctr"/>
          <a:lstStyle/>
          <a:p>
            <a:pPr algn="ctr"/>
            <a:endParaRPr lang="ru-RU" sz="220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076C5C60-88E6-4BD6-8E3D-ECDD4B988DD9}"/>
              </a:ext>
            </a:extLst>
          </p:cNvPr>
          <p:cNvSpPr txBox="1"/>
          <p:nvPr/>
        </p:nvSpPr>
        <p:spPr>
          <a:xfrm>
            <a:off x="5442855" y="8092132"/>
            <a:ext cx="4933663" cy="495514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Механизм отсутствует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32770" y="2538917"/>
            <a:ext cx="16003316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Прямоугольник 99"/>
          <p:cNvSpPr/>
          <p:nvPr/>
        </p:nvSpPr>
        <p:spPr>
          <a:xfrm>
            <a:off x="10742035" y="1201641"/>
            <a:ext cx="6014010" cy="79002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0682" tIns="85341" rIns="170682" bIns="85341"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15A10E46-C247-43E0-A0A9-A7DB90E373A2}"/>
              </a:ext>
            </a:extLst>
          </p:cNvPr>
          <p:cNvSpPr txBox="1"/>
          <p:nvPr/>
        </p:nvSpPr>
        <p:spPr>
          <a:xfrm>
            <a:off x="12180731" y="992777"/>
            <a:ext cx="3086136" cy="453116"/>
          </a:xfrm>
          <a:prstGeom prst="rect">
            <a:avLst/>
          </a:prstGeom>
          <a:solidFill>
            <a:schemeClr val="bg1"/>
          </a:solidFill>
        </p:spPr>
        <p:txBody>
          <a:bodyPr wrap="square" lIns="128695" tIns="64347" rIns="128695" bIns="64347" rtlCol="0">
            <a:spAutoFit/>
          </a:bodyPr>
          <a:lstStyle>
            <a:defPPr>
              <a:defRPr lang="ru-RU"/>
            </a:defPPr>
            <a:lvl1pPr algn="ctr">
              <a:defRPr sz="1100" b="1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ko-KR" sz="2100" dirty="0"/>
              <a:t>ПРЕДЛАГАЕМЫЕ</a:t>
            </a:r>
            <a:endParaRPr lang="ko-KR" altLang="en-US" sz="2100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E69707CE-29BB-4C7D-974B-53837E44A2D3}"/>
              </a:ext>
            </a:extLst>
          </p:cNvPr>
          <p:cNvSpPr txBox="1"/>
          <p:nvPr/>
        </p:nvSpPr>
        <p:spPr>
          <a:xfrm>
            <a:off x="6513024" y="992777"/>
            <a:ext cx="2774038" cy="453116"/>
          </a:xfrm>
          <a:prstGeom prst="rect">
            <a:avLst/>
          </a:prstGeom>
          <a:solidFill>
            <a:schemeClr val="bg1"/>
          </a:solidFill>
        </p:spPr>
        <p:txBody>
          <a:bodyPr wrap="square" lIns="128695" tIns="64347" rIns="128695" bIns="64347" rtlCol="0">
            <a:spAutoFit/>
          </a:bodyPr>
          <a:lstStyle/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ДЕЙСТВУЮЩИЕ</a:t>
            </a:r>
            <a:endParaRPr lang="ko-KR" altLang="en-US" sz="21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732770" y="5416258"/>
            <a:ext cx="16003316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732770" y="7354484"/>
            <a:ext cx="16003316" cy="0"/>
          </a:xfrm>
          <a:prstGeom prst="line">
            <a:avLst/>
          </a:prstGeom>
          <a:ln w="190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5155A109-2E4D-406E-8915-A604AEE937C0}"/>
              </a:ext>
            </a:extLst>
          </p:cNvPr>
          <p:cNvSpPr txBox="1"/>
          <p:nvPr/>
        </p:nvSpPr>
        <p:spPr>
          <a:xfrm>
            <a:off x="10742035" y="5741505"/>
            <a:ext cx="6014010" cy="1141845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Предоставление готовых производственных помещений </a:t>
            </a:r>
            <a:r>
              <a:rPr lang="en-US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/>
            </a:r>
            <a:br>
              <a:rPr lang="en-US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</a:br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по принципу </a:t>
            </a:r>
            <a:r>
              <a:rPr lang="en-US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Ready-Built-Factory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2A03F99F-41B5-44D0-9409-25CA54A477E7}"/>
              </a:ext>
            </a:extLst>
          </p:cNvPr>
          <p:cNvSpPr txBox="1"/>
          <p:nvPr/>
        </p:nvSpPr>
        <p:spPr>
          <a:xfrm>
            <a:off x="996286" y="5859581"/>
            <a:ext cx="4336795" cy="1141845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>
              <a:defRPr/>
            </a:pPr>
            <a:r>
              <a:rPr lang="ru-RU" altLang="ko-KR" sz="2100" b="1" dirty="0">
                <a:solidFill>
                  <a:srgbClr val="002060"/>
                </a:solidFill>
                <a:latin typeface="Arial Black" pitchFamily="34" charset="0"/>
                <a:cs typeface="Arial" panose="020B0604020202020204" pitchFamily="34" charset="0"/>
              </a:rPr>
              <a:t>ГОТОВЫЕ ПРОИЗВОДСТВЕННЫЕ ПОМЕЩЕНИЯ </a:t>
            </a:r>
            <a:endParaRPr lang="ko-KR" altLang="en-US" sz="2100" b="1" dirty="0">
              <a:solidFill>
                <a:srgbClr val="002060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Commercial building, factory architecture, factory building, industry,  manufacturing unit, mill icon - Download on Iconfinder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018" y="5929585"/>
            <a:ext cx="810520" cy="81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B4811964-6460-46EF-8682-BFD0BDFA1715}"/>
              </a:ext>
            </a:extLst>
          </p:cNvPr>
          <p:cNvSpPr txBox="1"/>
          <p:nvPr/>
        </p:nvSpPr>
        <p:spPr>
          <a:xfrm>
            <a:off x="5442857" y="6057488"/>
            <a:ext cx="4933662" cy="495514"/>
          </a:xfrm>
          <a:prstGeom prst="rect">
            <a:avLst/>
          </a:prstGeom>
          <a:noFill/>
        </p:spPr>
        <p:txBody>
          <a:bodyPr wrap="square" lIns="170682" tIns="85341" rIns="170682" bIns="85341" rtlCol="0">
            <a:spAutoFit/>
          </a:bodyPr>
          <a:lstStyle/>
          <a:p>
            <a:pPr algn="ctr"/>
            <a:r>
              <a:rPr lang="ru-RU" altLang="ko-KR" sz="2100" dirty="0">
                <a:solidFill>
                  <a:prstClr val="black"/>
                </a:solidFill>
                <a:latin typeface="Arial Black" pitchFamily="34" charset="0"/>
                <a:cs typeface="Arial" panose="020B0604020202020204" pitchFamily="34" charset="0"/>
              </a:rPr>
              <a:t>Отсутствуют</a:t>
            </a:r>
            <a:endParaRPr lang="ko-KR" altLang="en-US" sz="2100" dirty="0">
              <a:solidFill>
                <a:prstClr val="black"/>
              </a:solidFill>
              <a:latin typeface="Arial Black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Google Shape;847;p74">
            <a:extLst>
              <a:ext uri="{FF2B5EF4-FFF2-40B4-BE49-F238E27FC236}">
                <a16:creationId xmlns="" xmlns:a16="http://schemas.microsoft.com/office/drawing/2014/main" id="{08DC410D-DAFF-1540-A578-A88BA0AD61DC}"/>
              </a:ext>
            </a:extLst>
          </p:cNvPr>
          <p:cNvCxnSpPr/>
          <p:nvPr/>
        </p:nvCxnSpPr>
        <p:spPr>
          <a:xfrm>
            <a:off x="424357" y="832099"/>
            <a:ext cx="16178521" cy="0"/>
          </a:xfrm>
          <a:prstGeom prst="straightConnector1">
            <a:avLst/>
          </a:prstGeom>
          <a:noFill/>
          <a:ln w="57150" cap="flat" cmpd="sng">
            <a:solidFill>
              <a:schemeClr val="accent1">
                <a:lumMod val="50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94940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heme/theme1.xml><?xml version="1.0" encoding="utf-8"?>
<a:theme xmlns:a="http://schemas.openxmlformats.org/drawingml/2006/main" name="2_Strategy Partners">
  <a:themeElements>
    <a:clrScheme name="Другая 5">
      <a:dk1>
        <a:srgbClr val="000000"/>
      </a:dk1>
      <a:lt1>
        <a:srgbClr val="FFFFFF"/>
      </a:lt1>
      <a:dk2>
        <a:srgbClr val="376092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3_Strategy Partners">
  <a:themeElements>
    <a:clrScheme name="Другая 5">
      <a:dk1>
        <a:srgbClr val="000000"/>
      </a:dk1>
      <a:lt1>
        <a:srgbClr val="FFFFFF"/>
      </a:lt1>
      <a:dk2>
        <a:srgbClr val="376092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01</TotalTime>
  <Words>485</Words>
  <Application>Microsoft Office PowerPoint</Application>
  <PresentationFormat>Произвольный</PresentationFormat>
  <Paragraphs>97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9" baseType="lpstr">
      <vt:lpstr>2_Strategy Partners</vt:lpstr>
      <vt:lpstr>3_Strategy Partners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олмагамбетов Турар</dc:creator>
  <cp:lastModifiedBy>Жибек Бекзалбек</cp:lastModifiedBy>
  <cp:revision>77</cp:revision>
  <cp:lastPrinted>2020-05-24T08:07:54Z</cp:lastPrinted>
  <dcterms:created xsi:type="dcterms:W3CDTF">2019-01-14T09:13:45Z</dcterms:created>
  <dcterms:modified xsi:type="dcterms:W3CDTF">2021-06-03T02:39:56Z</dcterms:modified>
</cp:coreProperties>
</file>